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33"/>
  </p:notesMasterIdLst>
  <p:handoutMasterIdLst>
    <p:handoutMasterId r:id="rId34"/>
  </p:handoutMasterIdLst>
  <p:sldIdLst>
    <p:sldId id="263" r:id="rId6"/>
    <p:sldId id="262" r:id="rId7"/>
    <p:sldId id="258" r:id="rId8"/>
    <p:sldId id="264" r:id="rId9"/>
    <p:sldId id="266" r:id="rId10"/>
    <p:sldId id="282" r:id="rId11"/>
    <p:sldId id="267" r:id="rId12"/>
    <p:sldId id="287" r:id="rId13"/>
    <p:sldId id="268" r:id="rId14"/>
    <p:sldId id="274" r:id="rId15"/>
    <p:sldId id="269" r:id="rId16"/>
    <p:sldId id="273" r:id="rId17"/>
    <p:sldId id="275" r:id="rId18"/>
    <p:sldId id="276" r:id="rId19"/>
    <p:sldId id="277" r:id="rId20"/>
    <p:sldId id="280" r:id="rId21"/>
    <p:sldId id="281" r:id="rId22"/>
    <p:sldId id="279" r:id="rId23"/>
    <p:sldId id="278" r:id="rId24"/>
    <p:sldId id="283" r:id="rId25"/>
    <p:sldId id="284" r:id="rId26"/>
    <p:sldId id="285" r:id="rId27"/>
    <p:sldId id="286" r:id="rId28"/>
    <p:sldId id="259" r:id="rId29"/>
    <p:sldId id="270" r:id="rId30"/>
    <p:sldId id="271" r:id="rId31"/>
    <p:sldId id="272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58" d="100"/>
          <a:sy n="158" d="100"/>
        </p:scale>
        <p:origin x="16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svg"/><Relationship Id="rId1" Type="http://schemas.openxmlformats.org/officeDocument/2006/relationships/image" Target="../media/image28.png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diagrams/_rels/data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f.uio.no/studier/kontakt/hfstudieinfo.html" TargetMode="External"/><Relationship Id="rId2" Type="http://schemas.openxmlformats.org/officeDocument/2006/relationships/hyperlink" Target="https://www.uio.no/studier/eksamen/obligatoriske-aktiviteter/hf-oblig.html" TargetMode="External"/><Relationship Id="rId1" Type="http://schemas.openxmlformats.org/officeDocument/2006/relationships/hyperlink" Target="mailto:studentinfo@ikos.uio.no" TargetMode="External"/><Relationship Id="rId4" Type="http://schemas.openxmlformats.org/officeDocument/2006/relationships/hyperlink" Target="https://www.uio.no/tjenester/it/kontakt/it-hjelp/index.html" TargetMode="External"/></Relationships>
</file>

<file path=ppt/diagrams/_rels/data11.xml.rels><?xml version="1.0" encoding="UTF-8" standalone="yes"?>
<Relationships xmlns="http://schemas.openxmlformats.org/package/2006/relationships"><Relationship Id="rId1" Type="http://schemas.openxmlformats.org/officeDocument/2006/relationships/hyperlink" Target="https://www.uio.no/om/hms/arbeidsmiljo/prosedyrer/trakassering/index.html" TargetMode="External"/></Relationships>
</file>

<file path=ppt/diagrams/_rels/data12.xml.rels><?xml version="1.0" encoding="UTF-8" standalone="yes"?>
<Relationships xmlns="http://schemas.openxmlformats.org/package/2006/relationships"><Relationship Id="rId1" Type="http://schemas.openxmlformats.org/officeDocument/2006/relationships/hyperlink" Target="https://www.uio.no/studier/tilrettelegging-permisjon/permisjon/" TargetMode="External"/></Relationships>
</file>

<file path=ppt/diagrams/_rels/data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uio.no/studier/program/religionsvitenskap/oppbygging/" TargetMode="External"/><Relationship Id="rId1" Type="http://schemas.openxmlformats.org/officeDocument/2006/relationships/hyperlink" Target="https://www.uio.no/studier/emnegrupper/hf/80REL2/index.html" TargetMode="External"/></Relationships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svg"/><Relationship Id="rId1" Type="http://schemas.openxmlformats.org/officeDocument/2006/relationships/image" Target="../media/image37.png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10" Type="http://schemas.openxmlformats.org/officeDocument/2006/relationships/image" Target="../media/image46.svg"/><Relationship Id="rId4" Type="http://schemas.openxmlformats.org/officeDocument/2006/relationships/image" Target="../media/image40.svg"/><Relationship Id="rId9" Type="http://schemas.openxmlformats.org/officeDocument/2006/relationships/image" Target="../media/image45.png"/></Relationships>
</file>

<file path=ppt/diagrams/_rels/data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image" Target="../media/image48.svg"/><Relationship Id="rId1" Type="http://schemas.openxmlformats.org/officeDocument/2006/relationships/image" Target="../media/image47.png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image" Target="../media/image50.svg"/></Relationships>
</file>

<file path=ppt/diagrams/_rels/data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59.png"/><Relationship Id="rId7" Type="http://schemas.openxmlformats.org/officeDocument/2006/relationships/image" Target="../media/image53.png"/><Relationship Id="rId2" Type="http://schemas.openxmlformats.org/officeDocument/2006/relationships/image" Target="../media/image58.svg"/><Relationship Id="rId1" Type="http://schemas.openxmlformats.org/officeDocument/2006/relationships/image" Target="../media/image57.png"/><Relationship Id="rId6" Type="http://schemas.openxmlformats.org/officeDocument/2006/relationships/image" Target="../media/image61.svg"/><Relationship Id="rId5" Type="http://schemas.openxmlformats.org/officeDocument/2006/relationships/image" Target="../media/image51.png"/><Relationship Id="rId4" Type="http://schemas.openxmlformats.org/officeDocument/2006/relationships/image" Target="../media/image60.svg"/></Relationships>
</file>

<file path=ppt/diagrams/_rels/data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tjenester/it/" TargetMode="External"/><Relationship Id="rId2" Type="http://schemas.openxmlformats.org/officeDocument/2006/relationships/hyperlink" Target="https://mail.uio.no/owa/auth/logon.aspx?replaceCurrent=1&amp;url=https%3a%2f%2fmail.uio.no%2fowa%2f" TargetMode="External"/><Relationship Id="rId1" Type="http://schemas.openxmlformats.org/officeDocument/2006/relationships/hyperlink" Target="https://brukerinfo.uio.no/logon.php" TargetMode="External"/></Relationships>
</file>

<file path=ppt/diagrams/_rels/data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svg"/><Relationship Id="rId1" Type="http://schemas.openxmlformats.org/officeDocument/2006/relationships/image" Target="../media/image72.png"/><Relationship Id="rId4" Type="http://schemas.openxmlformats.org/officeDocument/2006/relationships/image" Target="../media/image75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svg"/><Relationship Id="rId1" Type="http://schemas.openxmlformats.org/officeDocument/2006/relationships/image" Target="../media/image28.png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diagrams/_rels/drawing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f.uio.no/studier/kontakt/hfstudieinfo.html" TargetMode="External"/><Relationship Id="rId2" Type="http://schemas.openxmlformats.org/officeDocument/2006/relationships/hyperlink" Target="https://www.uio.no/studier/eksamen/obligatoriske-aktiviteter/hf-oblig.html" TargetMode="External"/><Relationship Id="rId1" Type="http://schemas.openxmlformats.org/officeDocument/2006/relationships/hyperlink" Target="mailto:studentinfo@ikos.uio.no" TargetMode="External"/><Relationship Id="rId4" Type="http://schemas.openxmlformats.org/officeDocument/2006/relationships/hyperlink" Target="https://www.uio.no/tjenester/it/kontakt/it-hjelp/index.html" TargetMode="External"/></Relationships>
</file>

<file path=ppt/diagrams/_rels/drawing11.xml.rels><?xml version="1.0" encoding="UTF-8" standalone="yes"?>
<Relationships xmlns="http://schemas.openxmlformats.org/package/2006/relationships"><Relationship Id="rId1" Type="http://schemas.openxmlformats.org/officeDocument/2006/relationships/hyperlink" Target="https://www.uio.no/om/hms/arbeidsmiljo/prosedyrer/trakassering/index.html" TargetMode="External"/></Relationships>
</file>

<file path=ppt/diagrams/_rels/drawing12.xml.rels><?xml version="1.0" encoding="UTF-8" standalone="yes"?>
<Relationships xmlns="http://schemas.openxmlformats.org/package/2006/relationships"><Relationship Id="rId1" Type="http://schemas.openxmlformats.org/officeDocument/2006/relationships/hyperlink" Target="https://www.uio.no/studier/tilrettelegging-permisjon/permisjon/" TargetMode="External"/></Relationships>
</file>

<file path=ppt/diagrams/_rels/drawing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uio.no/studier/program/religionsvitenskap/oppbygging/" TargetMode="External"/><Relationship Id="rId1" Type="http://schemas.openxmlformats.org/officeDocument/2006/relationships/hyperlink" Target="https://www.uio.no/studier/emnegrupper/hf/80REL2/index.html" TargetMode="External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svg"/><Relationship Id="rId1" Type="http://schemas.openxmlformats.org/officeDocument/2006/relationships/image" Target="../media/image37.png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10" Type="http://schemas.openxmlformats.org/officeDocument/2006/relationships/image" Target="../media/image46.svg"/><Relationship Id="rId4" Type="http://schemas.openxmlformats.org/officeDocument/2006/relationships/image" Target="../media/image40.svg"/><Relationship Id="rId9" Type="http://schemas.openxmlformats.org/officeDocument/2006/relationships/image" Target="../media/image45.png"/></Relationships>
</file>

<file path=ppt/diagrams/_rels/drawing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image" Target="../media/image48.svg"/><Relationship Id="rId1" Type="http://schemas.openxmlformats.org/officeDocument/2006/relationships/image" Target="../media/image47.png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image" Target="../media/image50.svg"/></Relationships>
</file>

<file path=ppt/diagrams/_rels/drawing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59.png"/><Relationship Id="rId7" Type="http://schemas.openxmlformats.org/officeDocument/2006/relationships/image" Target="../media/image53.png"/><Relationship Id="rId2" Type="http://schemas.openxmlformats.org/officeDocument/2006/relationships/image" Target="../media/image58.svg"/><Relationship Id="rId1" Type="http://schemas.openxmlformats.org/officeDocument/2006/relationships/image" Target="../media/image57.png"/><Relationship Id="rId6" Type="http://schemas.openxmlformats.org/officeDocument/2006/relationships/image" Target="../media/image61.svg"/><Relationship Id="rId5" Type="http://schemas.openxmlformats.org/officeDocument/2006/relationships/image" Target="../media/image51.png"/><Relationship Id="rId4" Type="http://schemas.openxmlformats.org/officeDocument/2006/relationships/image" Target="../media/image60.svg"/></Relationships>
</file>

<file path=ppt/diagrams/_rels/drawing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tjenester/it/" TargetMode="External"/><Relationship Id="rId2" Type="http://schemas.openxmlformats.org/officeDocument/2006/relationships/hyperlink" Target="https://brukerinfo.uio.no/logon.php" TargetMode="External"/><Relationship Id="rId1" Type="http://schemas.openxmlformats.org/officeDocument/2006/relationships/hyperlink" Target="https://mail.uio.no/owa/auth/logon.aspx?replaceCurrent=1&amp;url=https%3a%2f%2fmail.uio.no%2fowa%2f" TargetMode="External"/></Relationships>
</file>

<file path=ppt/diagrams/_rels/drawing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svg"/><Relationship Id="rId1" Type="http://schemas.openxmlformats.org/officeDocument/2006/relationships/image" Target="../media/image72.png"/><Relationship Id="rId4" Type="http://schemas.openxmlformats.org/officeDocument/2006/relationships/image" Target="../media/image7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3218CE-74F7-4BB6-8FDC-BCC28B2400FA}" type="doc">
      <dgm:prSet loTypeId="urn:microsoft.com/office/officeart/2008/layout/PictureStrips" loCatId="list" qsTypeId="urn:microsoft.com/office/officeart/2005/8/quickstyle/simple2" qsCatId="simple" csTypeId="urn:microsoft.com/office/officeart/2005/8/colors/accent3_4" csCatId="accent3" phldr="1"/>
      <dgm:spPr/>
      <dgm:t>
        <a:bodyPr/>
        <a:lstStyle/>
        <a:p>
          <a:endParaRPr lang="en-US"/>
        </a:p>
      </dgm:t>
    </dgm:pt>
    <dgm:pt modelId="{1480F8B9-32AF-419A-B913-6C94DE953299}">
      <dgm:prSet/>
      <dgm:spPr/>
      <dgm:t>
        <a:bodyPr/>
        <a:lstStyle/>
        <a:p>
          <a:r>
            <a:rPr lang="nb-NO" dirty="0"/>
            <a:t>Beskjeder fra underviser</a:t>
          </a:r>
          <a:endParaRPr lang="en-US" dirty="0"/>
        </a:p>
      </dgm:t>
    </dgm:pt>
    <dgm:pt modelId="{D2A292B0-FAE4-4F3A-BA5C-5F520BBACBF8}" type="parTrans" cxnId="{B83D8B73-E58B-40C8-AAD0-E8C406790EB8}">
      <dgm:prSet/>
      <dgm:spPr/>
      <dgm:t>
        <a:bodyPr/>
        <a:lstStyle/>
        <a:p>
          <a:endParaRPr lang="en-US"/>
        </a:p>
      </dgm:t>
    </dgm:pt>
    <dgm:pt modelId="{9C8C4DD0-5AFD-48D5-B44C-8EF11E721C6C}" type="sibTrans" cxnId="{B83D8B73-E58B-40C8-AAD0-E8C406790EB8}">
      <dgm:prSet/>
      <dgm:spPr/>
      <dgm:t>
        <a:bodyPr/>
        <a:lstStyle/>
        <a:p>
          <a:endParaRPr lang="en-US"/>
        </a:p>
      </dgm:t>
    </dgm:pt>
    <dgm:pt modelId="{CE9601B1-629E-43DE-BBE0-B9DBB3DFFBFE}">
      <dgm:prSet/>
      <dgm:spPr/>
      <dgm:t>
        <a:bodyPr/>
        <a:lstStyle/>
        <a:p>
          <a:r>
            <a:rPr lang="nb-NO" dirty="0"/>
            <a:t>Personlig timeplan som kan synkroniseres med kalender på mobil</a:t>
          </a:r>
          <a:endParaRPr lang="en-US" dirty="0"/>
        </a:p>
      </dgm:t>
    </dgm:pt>
    <dgm:pt modelId="{8166D23F-AB93-4E31-83F9-EDAC0070FC14}" type="parTrans" cxnId="{03A3CE78-371E-40AF-B38C-C39A07E2F9B4}">
      <dgm:prSet/>
      <dgm:spPr/>
      <dgm:t>
        <a:bodyPr/>
        <a:lstStyle/>
        <a:p>
          <a:endParaRPr lang="en-US"/>
        </a:p>
      </dgm:t>
    </dgm:pt>
    <dgm:pt modelId="{DBA1945C-EDC3-4530-A5FD-4D827760BCE9}" type="sibTrans" cxnId="{03A3CE78-371E-40AF-B38C-C39A07E2F9B4}">
      <dgm:prSet/>
      <dgm:spPr/>
      <dgm:t>
        <a:bodyPr/>
        <a:lstStyle/>
        <a:p>
          <a:endParaRPr lang="en-US"/>
        </a:p>
      </dgm:t>
    </dgm:pt>
    <dgm:pt modelId="{EE31D628-8206-4485-84D3-D8B793EC2741}">
      <dgm:prSet/>
      <dgm:spPr/>
      <dgm:t>
        <a:bodyPr/>
        <a:lstStyle/>
        <a:p>
          <a:r>
            <a:rPr lang="nb-NO" dirty="0"/>
            <a:t>Snarveier til andre ressurser</a:t>
          </a:r>
          <a:endParaRPr lang="en-US" dirty="0"/>
        </a:p>
      </dgm:t>
    </dgm:pt>
    <dgm:pt modelId="{27B04AAC-B884-471E-B381-9F5E2B705C6D}" type="parTrans" cxnId="{04C31826-CAF3-4529-86B8-D460AD85692F}">
      <dgm:prSet/>
      <dgm:spPr/>
      <dgm:t>
        <a:bodyPr/>
        <a:lstStyle/>
        <a:p>
          <a:endParaRPr lang="en-US"/>
        </a:p>
      </dgm:t>
    </dgm:pt>
    <dgm:pt modelId="{3B158FBC-465F-443C-9680-792DDEEB163B}" type="sibTrans" cxnId="{04C31826-CAF3-4529-86B8-D460AD85692F}">
      <dgm:prSet/>
      <dgm:spPr/>
      <dgm:t>
        <a:bodyPr/>
        <a:lstStyle/>
        <a:p>
          <a:endParaRPr lang="en-US"/>
        </a:p>
      </dgm:t>
    </dgm:pt>
    <dgm:pt modelId="{3A9B1C3B-3B2C-4462-8D04-D1099D82BABE}">
      <dgm:prSet/>
      <dgm:spPr/>
      <dgm:t>
        <a:bodyPr/>
        <a:lstStyle/>
        <a:p>
          <a:r>
            <a:rPr lang="nb-NO" dirty="0"/>
            <a:t>Lenker til studieprogram og emnesider</a:t>
          </a:r>
          <a:endParaRPr lang="en-US" dirty="0"/>
        </a:p>
      </dgm:t>
    </dgm:pt>
    <dgm:pt modelId="{DDA4B7B6-4A56-4155-B75A-D3E2B4303DF4}" type="parTrans" cxnId="{03C54E5A-F3FC-443B-920A-A4C7A7A16C70}">
      <dgm:prSet/>
      <dgm:spPr/>
      <dgm:t>
        <a:bodyPr/>
        <a:lstStyle/>
        <a:p>
          <a:endParaRPr lang="en-US"/>
        </a:p>
      </dgm:t>
    </dgm:pt>
    <dgm:pt modelId="{6386ED61-9486-483E-B3ED-B079E9ADD2F8}" type="sibTrans" cxnId="{03C54E5A-F3FC-443B-920A-A4C7A7A16C70}">
      <dgm:prSet/>
      <dgm:spPr/>
      <dgm:t>
        <a:bodyPr/>
        <a:lstStyle/>
        <a:p>
          <a:endParaRPr lang="en-US"/>
        </a:p>
      </dgm:t>
    </dgm:pt>
    <dgm:pt modelId="{6499CB6F-4990-43B7-AA65-D1AE578CAC94}">
      <dgm:prSet/>
      <dgm:spPr/>
      <dgm:t>
        <a:bodyPr/>
        <a:lstStyle/>
        <a:p>
          <a:r>
            <a:rPr lang="nb-NO" dirty="0"/>
            <a:t>Lenker til tilrettelegging, permisjon og fravær</a:t>
          </a:r>
          <a:endParaRPr lang="en-US" dirty="0"/>
        </a:p>
      </dgm:t>
    </dgm:pt>
    <dgm:pt modelId="{E855D3C1-E6D6-4C85-9C23-3020D8B03DA5}" type="parTrans" cxnId="{C91765A4-5C7B-455C-96E6-4D49F155A28D}">
      <dgm:prSet/>
      <dgm:spPr/>
      <dgm:t>
        <a:bodyPr/>
        <a:lstStyle/>
        <a:p>
          <a:endParaRPr lang="en-US"/>
        </a:p>
      </dgm:t>
    </dgm:pt>
    <dgm:pt modelId="{D316C23E-602F-4712-996E-0E83C6B96C5C}" type="sibTrans" cxnId="{C91765A4-5C7B-455C-96E6-4D49F155A28D}">
      <dgm:prSet/>
      <dgm:spPr/>
      <dgm:t>
        <a:bodyPr/>
        <a:lstStyle/>
        <a:p>
          <a:endParaRPr lang="en-US"/>
        </a:p>
      </dgm:t>
    </dgm:pt>
    <dgm:pt modelId="{5BB1BE28-28DC-4225-82D6-A8423625C7DC}">
      <dgm:prSet/>
      <dgm:spPr/>
      <dgm:t>
        <a:bodyPr/>
        <a:lstStyle/>
        <a:p>
          <a:r>
            <a:rPr lang="en-US" dirty="0" err="1"/>
            <a:t>Personlig</a:t>
          </a:r>
          <a:r>
            <a:rPr lang="en-US" dirty="0"/>
            <a:t> </a:t>
          </a:r>
          <a:r>
            <a:rPr lang="en-US" dirty="0" err="1"/>
            <a:t>sjekkliste</a:t>
          </a:r>
          <a:r>
            <a:rPr lang="en-US" dirty="0"/>
            <a:t> med </a:t>
          </a:r>
          <a:r>
            <a:rPr lang="en-US" dirty="0" err="1"/>
            <a:t>oppgaver</a:t>
          </a:r>
          <a:r>
            <a:rPr lang="en-US" dirty="0"/>
            <a:t> for </a:t>
          </a:r>
          <a:r>
            <a:rPr lang="en-US" dirty="0" err="1"/>
            <a:t>studiestart</a:t>
          </a:r>
          <a:endParaRPr lang="en-US" dirty="0"/>
        </a:p>
      </dgm:t>
    </dgm:pt>
    <dgm:pt modelId="{79FD8216-60E2-4052-8403-163ED287820A}" type="parTrans" cxnId="{A04F305D-6526-47E2-9A15-78593F47B591}">
      <dgm:prSet/>
      <dgm:spPr/>
      <dgm:t>
        <a:bodyPr/>
        <a:lstStyle/>
        <a:p>
          <a:endParaRPr lang="en-GB"/>
        </a:p>
      </dgm:t>
    </dgm:pt>
    <dgm:pt modelId="{E3CF874E-7A9C-41B6-8444-AB6FD33D17C6}" type="sibTrans" cxnId="{A04F305D-6526-47E2-9A15-78593F47B591}">
      <dgm:prSet/>
      <dgm:spPr/>
      <dgm:t>
        <a:bodyPr/>
        <a:lstStyle/>
        <a:p>
          <a:endParaRPr lang="en-GB"/>
        </a:p>
      </dgm:t>
    </dgm:pt>
    <dgm:pt modelId="{9EE2675A-A5A4-491B-9EFA-B56613CE16CB}" type="pres">
      <dgm:prSet presAssocID="{C63218CE-74F7-4BB6-8FDC-BCC28B2400FA}" presName="Name0" presStyleCnt="0">
        <dgm:presLayoutVars>
          <dgm:dir/>
          <dgm:resizeHandles val="exact"/>
        </dgm:presLayoutVars>
      </dgm:prSet>
      <dgm:spPr/>
    </dgm:pt>
    <dgm:pt modelId="{8AA4A353-6D81-4BC6-B575-AC9D903E9985}" type="pres">
      <dgm:prSet presAssocID="{5BB1BE28-28DC-4225-82D6-A8423625C7DC}" presName="composite" presStyleCnt="0"/>
      <dgm:spPr/>
    </dgm:pt>
    <dgm:pt modelId="{4E7393B1-B644-4B8C-8170-0EA0B62E12D6}" type="pres">
      <dgm:prSet presAssocID="{5BB1BE28-28DC-4225-82D6-A8423625C7DC}" presName="rect1" presStyleLbl="trAlignAcc1" presStyleIdx="0" presStyleCnt="6">
        <dgm:presLayoutVars>
          <dgm:bulletEnabled val="1"/>
        </dgm:presLayoutVars>
      </dgm:prSet>
      <dgm:spPr/>
    </dgm:pt>
    <dgm:pt modelId="{821F370F-5A8F-49F9-BAE1-9B7BD1A587C2}" type="pres">
      <dgm:prSet presAssocID="{5BB1BE28-28DC-4225-82D6-A8423625C7DC}" presName="rect2" presStyleLbl="fgImgPlace1" presStyleIdx="0" presStyleCnt="6" custScaleY="4674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1000" r="-1000"/>
          </a:stretch>
        </a:blipFill>
      </dgm:spPr>
      <dgm:extLst>
        <a:ext uri="{E40237B7-FDA0-4F09-8148-C483321AD2D9}">
          <dgm14:cNvPr xmlns:dgm14="http://schemas.microsoft.com/office/drawing/2010/diagram" id="0" name="" descr="Avmerking med heldekkende fyll"/>
        </a:ext>
      </dgm:extLst>
    </dgm:pt>
    <dgm:pt modelId="{3BEC5BF7-C847-4267-91E9-6B3F0A64606D}" type="pres">
      <dgm:prSet presAssocID="{E3CF874E-7A9C-41B6-8444-AB6FD33D17C6}" presName="sibTrans" presStyleCnt="0"/>
      <dgm:spPr/>
    </dgm:pt>
    <dgm:pt modelId="{B348682B-B9C9-4220-B234-B004B64FD584}" type="pres">
      <dgm:prSet presAssocID="{1480F8B9-32AF-419A-B913-6C94DE953299}" presName="composite" presStyleCnt="0"/>
      <dgm:spPr/>
    </dgm:pt>
    <dgm:pt modelId="{6C13BBA8-26D5-463F-A4FA-8CA84E6A8A87}" type="pres">
      <dgm:prSet presAssocID="{1480F8B9-32AF-419A-B913-6C94DE953299}" presName="rect1" presStyleLbl="trAlignAcc1" presStyleIdx="1" presStyleCnt="6">
        <dgm:presLayoutVars>
          <dgm:bulletEnabled val="1"/>
        </dgm:presLayoutVars>
      </dgm:prSet>
      <dgm:spPr/>
    </dgm:pt>
    <dgm:pt modelId="{402D72F6-CC07-4714-9339-AF6BB61975F1}" type="pres">
      <dgm:prSet presAssocID="{1480F8B9-32AF-419A-B913-6C94DE953299}" presName="rect2" presStyleLbl="fgImgPlace1" presStyleIdx="1" presStyleCnt="6" custScaleY="52857"/>
      <dgm:spPr>
        <a:blipFill rotWithShape="1">
          <a:blip xmlns:r="http://schemas.openxmlformats.org/officeDocument/2006/relationships" r:embed="rId3"/>
          <a:srcRect/>
          <a:stretch>
            <a:fillRect t="-24000" b="-24000"/>
          </a:stretch>
        </a:blipFill>
      </dgm:spPr>
    </dgm:pt>
    <dgm:pt modelId="{22DE14D2-B0A7-4DE8-B287-BAC4CB16C6DC}" type="pres">
      <dgm:prSet presAssocID="{9C8C4DD0-5AFD-48D5-B44C-8EF11E721C6C}" presName="sibTrans" presStyleCnt="0"/>
      <dgm:spPr/>
    </dgm:pt>
    <dgm:pt modelId="{694197B7-9660-4DA2-94B2-E5102E24D3F4}" type="pres">
      <dgm:prSet presAssocID="{CE9601B1-629E-43DE-BBE0-B9DBB3DFFBFE}" presName="composite" presStyleCnt="0"/>
      <dgm:spPr/>
    </dgm:pt>
    <dgm:pt modelId="{73E86E66-871F-457C-BA8E-DC96D2DF2F2A}" type="pres">
      <dgm:prSet presAssocID="{CE9601B1-629E-43DE-BBE0-B9DBB3DFFBFE}" presName="rect1" presStyleLbl="trAlignAcc1" presStyleIdx="2" presStyleCnt="6">
        <dgm:presLayoutVars>
          <dgm:bulletEnabled val="1"/>
        </dgm:presLayoutVars>
      </dgm:prSet>
      <dgm:spPr/>
    </dgm:pt>
    <dgm:pt modelId="{B80A647A-0C47-45E5-A103-EFE1ADF4B8EF}" type="pres">
      <dgm:prSet presAssocID="{CE9601B1-629E-43DE-BBE0-B9DBB3DFFBFE}" presName="rect2" presStyleLbl="fgImgPlace1" presStyleIdx="2" presStyleCnt="6" custScaleY="52857"/>
      <dgm:spPr>
        <a:blipFill rotWithShape="1">
          <a:blip xmlns:r="http://schemas.openxmlformats.org/officeDocument/2006/relationships" r:embed="rId4"/>
          <a:srcRect/>
          <a:stretch>
            <a:fillRect t="-27000" b="-27000"/>
          </a:stretch>
        </a:blipFill>
      </dgm:spPr>
    </dgm:pt>
    <dgm:pt modelId="{FF373422-7D58-440B-8D30-7FB605F13589}" type="pres">
      <dgm:prSet presAssocID="{DBA1945C-EDC3-4530-A5FD-4D827760BCE9}" presName="sibTrans" presStyleCnt="0"/>
      <dgm:spPr/>
    </dgm:pt>
    <dgm:pt modelId="{A56C68E5-001B-495A-9B02-4A1CFC9C5DFF}" type="pres">
      <dgm:prSet presAssocID="{EE31D628-8206-4485-84D3-D8B793EC2741}" presName="composite" presStyleCnt="0"/>
      <dgm:spPr/>
    </dgm:pt>
    <dgm:pt modelId="{1EDCEFAF-5FD2-4CD1-862B-5EC7B49D7A2B}" type="pres">
      <dgm:prSet presAssocID="{EE31D628-8206-4485-84D3-D8B793EC2741}" presName="rect1" presStyleLbl="trAlignAcc1" presStyleIdx="3" presStyleCnt="6">
        <dgm:presLayoutVars>
          <dgm:bulletEnabled val="1"/>
        </dgm:presLayoutVars>
      </dgm:prSet>
      <dgm:spPr/>
    </dgm:pt>
    <dgm:pt modelId="{455DB11D-0313-4421-BB7B-AB67AE09FCBC}" type="pres">
      <dgm:prSet presAssocID="{EE31D628-8206-4485-84D3-D8B793EC2741}" presName="rect2" presStyleLbl="fgImgPlace1" presStyleIdx="3" presStyleCnt="6" custScaleY="50816"/>
      <dgm:spPr>
        <a:blipFill rotWithShape="1">
          <a:blip xmlns:r="http://schemas.openxmlformats.org/officeDocument/2006/relationships" r:embed="rId5"/>
          <a:srcRect/>
          <a:stretch>
            <a:fillRect t="-27000" b="-27000"/>
          </a:stretch>
        </a:blipFill>
      </dgm:spPr>
    </dgm:pt>
    <dgm:pt modelId="{A9C6ED71-F380-4D74-9830-590B14862CB4}" type="pres">
      <dgm:prSet presAssocID="{3B158FBC-465F-443C-9680-792DDEEB163B}" presName="sibTrans" presStyleCnt="0"/>
      <dgm:spPr/>
    </dgm:pt>
    <dgm:pt modelId="{77610EF3-C762-4A36-B18B-3A11540D91FC}" type="pres">
      <dgm:prSet presAssocID="{3A9B1C3B-3B2C-4462-8D04-D1099D82BABE}" presName="composite" presStyleCnt="0"/>
      <dgm:spPr/>
    </dgm:pt>
    <dgm:pt modelId="{3B3C802A-21D7-442C-A236-3241734B0610}" type="pres">
      <dgm:prSet presAssocID="{3A9B1C3B-3B2C-4462-8D04-D1099D82BABE}" presName="rect1" presStyleLbl="trAlignAcc1" presStyleIdx="4" presStyleCnt="6">
        <dgm:presLayoutVars>
          <dgm:bulletEnabled val="1"/>
        </dgm:presLayoutVars>
      </dgm:prSet>
      <dgm:spPr/>
    </dgm:pt>
    <dgm:pt modelId="{4A9A6353-C4DE-4582-938E-EC8642B42B38}" type="pres">
      <dgm:prSet presAssocID="{3A9B1C3B-3B2C-4462-8D04-D1099D82BABE}" presName="rect2" presStyleLbl="fgImgPlace1" presStyleIdx="4" presStyleCnt="6" custScaleY="52857"/>
      <dgm:spPr>
        <a:blipFill rotWithShape="1">
          <a:blip xmlns:r="http://schemas.openxmlformats.org/officeDocument/2006/relationships" r:embed="rId6"/>
          <a:srcRect/>
          <a:stretch>
            <a:fillRect t="-26000" b="-26000"/>
          </a:stretch>
        </a:blipFill>
      </dgm:spPr>
    </dgm:pt>
    <dgm:pt modelId="{EC7A076F-D88D-4D31-8FB4-77C5DDCB32CE}" type="pres">
      <dgm:prSet presAssocID="{6386ED61-9486-483E-B3ED-B079E9ADD2F8}" presName="sibTrans" presStyleCnt="0"/>
      <dgm:spPr/>
    </dgm:pt>
    <dgm:pt modelId="{3DDA572C-F1E4-4E8A-B4B7-AC56CB43AB4D}" type="pres">
      <dgm:prSet presAssocID="{6499CB6F-4990-43B7-AA65-D1AE578CAC94}" presName="composite" presStyleCnt="0"/>
      <dgm:spPr/>
    </dgm:pt>
    <dgm:pt modelId="{5DCDCFE1-3935-4D57-A02B-044EBDC50BBE}" type="pres">
      <dgm:prSet presAssocID="{6499CB6F-4990-43B7-AA65-D1AE578CAC94}" presName="rect1" presStyleLbl="trAlignAcc1" presStyleIdx="5" presStyleCnt="6">
        <dgm:presLayoutVars>
          <dgm:bulletEnabled val="1"/>
        </dgm:presLayoutVars>
      </dgm:prSet>
      <dgm:spPr/>
    </dgm:pt>
    <dgm:pt modelId="{8FF26971-1ED7-4FF6-944F-2458FCBAE00D}" type="pres">
      <dgm:prSet presAssocID="{6499CB6F-4990-43B7-AA65-D1AE578CAC94}" presName="rect2" presStyleLbl="fgImgPlace1" presStyleIdx="5" presStyleCnt="6" custScaleY="48752"/>
      <dgm:spPr>
        <a:blipFill rotWithShape="1">
          <a:blip xmlns:r="http://schemas.openxmlformats.org/officeDocument/2006/relationships" r:embed="rId7"/>
          <a:srcRect/>
          <a:stretch>
            <a:fillRect t="-25000" b="-25000"/>
          </a:stretch>
        </a:blipFill>
      </dgm:spPr>
    </dgm:pt>
  </dgm:ptLst>
  <dgm:cxnLst>
    <dgm:cxn modelId="{96D5F412-F0EF-4492-B929-51F49C29A92D}" type="presOf" srcId="{6499CB6F-4990-43B7-AA65-D1AE578CAC94}" destId="{5DCDCFE1-3935-4D57-A02B-044EBDC50BBE}" srcOrd="0" destOrd="0" presId="urn:microsoft.com/office/officeart/2008/layout/PictureStrips"/>
    <dgm:cxn modelId="{AF981721-7FB9-490E-8EDD-428A28117A03}" type="presOf" srcId="{EE31D628-8206-4485-84D3-D8B793EC2741}" destId="{1EDCEFAF-5FD2-4CD1-862B-5EC7B49D7A2B}" srcOrd="0" destOrd="0" presId="urn:microsoft.com/office/officeart/2008/layout/PictureStrips"/>
    <dgm:cxn modelId="{04C31826-CAF3-4529-86B8-D460AD85692F}" srcId="{C63218CE-74F7-4BB6-8FDC-BCC28B2400FA}" destId="{EE31D628-8206-4485-84D3-D8B793EC2741}" srcOrd="3" destOrd="0" parTransId="{27B04AAC-B884-471E-B381-9F5E2B705C6D}" sibTransId="{3B158FBC-465F-443C-9680-792DDEEB163B}"/>
    <dgm:cxn modelId="{A04F305D-6526-47E2-9A15-78593F47B591}" srcId="{C63218CE-74F7-4BB6-8FDC-BCC28B2400FA}" destId="{5BB1BE28-28DC-4225-82D6-A8423625C7DC}" srcOrd="0" destOrd="0" parTransId="{79FD8216-60E2-4052-8403-163ED287820A}" sibTransId="{E3CF874E-7A9C-41B6-8444-AB6FD33D17C6}"/>
    <dgm:cxn modelId="{B83D8B73-E58B-40C8-AAD0-E8C406790EB8}" srcId="{C63218CE-74F7-4BB6-8FDC-BCC28B2400FA}" destId="{1480F8B9-32AF-419A-B913-6C94DE953299}" srcOrd="1" destOrd="0" parTransId="{D2A292B0-FAE4-4F3A-BA5C-5F520BBACBF8}" sibTransId="{9C8C4DD0-5AFD-48D5-B44C-8EF11E721C6C}"/>
    <dgm:cxn modelId="{03A3CE78-371E-40AF-B38C-C39A07E2F9B4}" srcId="{C63218CE-74F7-4BB6-8FDC-BCC28B2400FA}" destId="{CE9601B1-629E-43DE-BBE0-B9DBB3DFFBFE}" srcOrd="2" destOrd="0" parTransId="{8166D23F-AB93-4E31-83F9-EDAC0070FC14}" sibTransId="{DBA1945C-EDC3-4530-A5FD-4D827760BCE9}"/>
    <dgm:cxn modelId="{03C54E5A-F3FC-443B-920A-A4C7A7A16C70}" srcId="{C63218CE-74F7-4BB6-8FDC-BCC28B2400FA}" destId="{3A9B1C3B-3B2C-4462-8D04-D1099D82BABE}" srcOrd="4" destOrd="0" parTransId="{DDA4B7B6-4A56-4155-B75A-D3E2B4303DF4}" sibTransId="{6386ED61-9486-483E-B3ED-B079E9ADD2F8}"/>
    <dgm:cxn modelId="{C91765A4-5C7B-455C-96E6-4D49F155A28D}" srcId="{C63218CE-74F7-4BB6-8FDC-BCC28B2400FA}" destId="{6499CB6F-4990-43B7-AA65-D1AE578CAC94}" srcOrd="5" destOrd="0" parTransId="{E855D3C1-E6D6-4C85-9C23-3020D8B03DA5}" sibTransId="{D316C23E-602F-4712-996E-0E83C6B96C5C}"/>
    <dgm:cxn modelId="{CB6891B9-AA97-4289-A36C-4C950F3D8CA9}" type="presOf" srcId="{1480F8B9-32AF-419A-B913-6C94DE953299}" destId="{6C13BBA8-26D5-463F-A4FA-8CA84E6A8A87}" srcOrd="0" destOrd="0" presId="urn:microsoft.com/office/officeart/2008/layout/PictureStrips"/>
    <dgm:cxn modelId="{EF5920DB-CA0F-4D03-BC46-7428CFC03BFA}" type="presOf" srcId="{CE9601B1-629E-43DE-BBE0-B9DBB3DFFBFE}" destId="{73E86E66-871F-457C-BA8E-DC96D2DF2F2A}" srcOrd="0" destOrd="0" presId="urn:microsoft.com/office/officeart/2008/layout/PictureStrips"/>
    <dgm:cxn modelId="{876EEFE9-0213-4C62-8688-687FD69EDB4A}" type="presOf" srcId="{C63218CE-74F7-4BB6-8FDC-BCC28B2400FA}" destId="{9EE2675A-A5A4-491B-9EFA-B56613CE16CB}" srcOrd="0" destOrd="0" presId="urn:microsoft.com/office/officeart/2008/layout/PictureStrips"/>
    <dgm:cxn modelId="{F295E6F3-D058-49D4-A0E9-744FFA4D72AF}" type="presOf" srcId="{5BB1BE28-28DC-4225-82D6-A8423625C7DC}" destId="{4E7393B1-B644-4B8C-8170-0EA0B62E12D6}" srcOrd="0" destOrd="0" presId="urn:microsoft.com/office/officeart/2008/layout/PictureStrips"/>
    <dgm:cxn modelId="{02BCD6FA-56D5-4AA1-8902-2DB9FE7C7804}" type="presOf" srcId="{3A9B1C3B-3B2C-4462-8D04-D1099D82BABE}" destId="{3B3C802A-21D7-442C-A236-3241734B0610}" srcOrd="0" destOrd="0" presId="urn:microsoft.com/office/officeart/2008/layout/PictureStrips"/>
    <dgm:cxn modelId="{56158DBF-C1B0-4816-9F0D-D3A89B8AF174}" type="presParOf" srcId="{9EE2675A-A5A4-491B-9EFA-B56613CE16CB}" destId="{8AA4A353-6D81-4BC6-B575-AC9D903E9985}" srcOrd="0" destOrd="0" presId="urn:microsoft.com/office/officeart/2008/layout/PictureStrips"/>
    <dgm:cxn modelId="{EE2A3E20-F8CA-4882-B565-BB8B42F42444}" type="presParOf" srcId="{8AA4A353-6D81-4BC6-B575-AC9D903E9985}" destId="{4E7393B1-B644-4B8C-8170-0EA0B62E12D6}" srcOrd="0" destOrd="0" presId="urn:microsoft.com/office/officeart/2008/layout/PictureStrips"/>
    <dgm:cxn modelId="{15145D43-E345-4012-A2F7-4675891E439F}" type="presParOf" srcId="{8AA4A353-6D81-4BC6-B575-AC9D903E9985}" destId="{821F370F-5A8F-49F9-BAE1-9B7BD1A587C2}" srcOrd="1" destOrd="0" presId="urn:microsoft.com/office/officeart/2008/layout/PictureStrips"/>
    <dgm:cxn modelId="{5F102D60-5F43-4278-B7CF-61C68A0A3FD8}" type="presParOf" srcId="{9EE2675A-A5A4-491B-9EFA-B56613CE16CB}" destId="{3BEC5BF7-C847-4267-91E9-6B3F0A64606D}" srcOrd="1" destOrd="0" presId="urn:microsoft.com/office/officeart/2008/layout/PictureStrips"/>
    <dgm:cxn modelId="{ADE12B30-5495-4254-B836-763E969BCE0B}" type="presParOf" srcId="{9EE2675A-A5A4-491B-9EFA-B56613CE16CB}" destId="{B348682B-B9C9-4220-B234-B004B64FD584}" srcOrd="2" destOrd="0" presId="urn:microsoft.com/office/officeart/2008/layout/PictureStrips"/>
    <dgm:cxn modelId="{E75FF459-9513-4227-B2CD-78D66F6A5BCE}" type="presParOf" srcId="{B348682B-B9C9-4220-B234-B004B64FD584}" destId="{6C13BBA8-26D5-463F-A4FA-8CA84E6A8A87}" srcOrd="0" destOrd="0" presId="urn:microsoft.com/office/officeart/2008/layout/PictureStrips"/>
    <dgm:cxn modelId="{7F8E0D8F-4E6E-4DDC-90DF-C40EE8A87C9A}" type="presParOf" srcId="{B348682B-B9C9-4220-B234-B004B64FD584}" destId="{402D72F6-CC07-4714-9339-AF6BB61975F1}" srcOrd="1" destOrd="0" presId="urn:microsoft.com/office/officeart/2008/layout/PictureStrips"/>
    <dgm:cxn modelId="{FE8B3D11-E07E-45A0-8E09-DDA950EE64B6}" type="presParOf" srcId="{9EE2675A-A5A4-491B-9EFA-B56613CE16CB}" destId="{22DE14D2-B0A7-4DE8-B287-BAC4CB16C6DC}" srcOrd="3" destOrd="0" presId="urn:microsoft.com/office/officeart/2008/layout/PictureStrips"/>
    <dgm:cxn modelId="{F5B65875-E884-4EA5-87F6-98A5C24636C1}" type="presParOf" srcId="{9EE2675A-A5A4-491B-9EFA-B56613CE16CB}" destId="{694197B7-9660-4DA2-94B2-E5102E24D3F4}" srcOrd="4" destOrd="0" presId="urn:microsoft.com/office/officeart/2008/layout/PictureStrips"/>
    <dgm:cxn modelId="{906C260F-1421-4E98-A7D7-F94756FA6A89}" type="presParOf" srcId="{694197B7-9660-4DA2-94B2-E5102E24D3F4}" destId="{73E86E66-871F-457C-BA8E-DC96D2DF2F2A}" srcOrd="0" destOrd="0" presId="urn:microsoft.com/office/officeart/2008/layout/PictureStrips"/>
    <dgm:cxn modelId="{5E87DB23-85C5-4193-B447-905CCE6F1E3D}" type="presParOf" srcId="{694197B7-9660-4DA2-94B2-E5102E24D3F4}" destId="{B80A647A-0C47-45E5-A103-EFE1ADF4B8EF}" srcOrd="1" destOrd="0" presId="urn:microsoft.com/office/officeart/2008/layout/PictureStrips"/>
    <dgm:cxn modelId="{2189576E-31EE-4D2D-896D-97034790F638}" type="presParOf" srcId="{9EE2675A-A5A4-491B-9EFA-B56613CE16CB}" destId="{FF373422-7D58-440B-8D30-7FB605F13589}" srcOrd="5" destOrd="0" presId="urn:microsoft.com/office/officeart/2008/layout/PictureStrips"/>
    <dgm:cxn modelId="{61F265F9-59A9-4C1E-BE35-EB78CCCB32CB}" type="presParOf" srcId="{9EE2675A-A5A4-491B-9EFA-B56613CE16CB}" destId="{A56C68E5-001B-495A-9B02-4A1CFC9C5DFF}" srcOrd="6" destOrd="0" presId="urn:microsoft.com/office/officeart/2008/layout/PictureStrips"/>
    <dgm:cxn modelId="{845EB594-851F-43D0-A5DF-7015152955CB}" type="presParOf" srcId="{A56C68E5-001B-495A-9B02-4A1CFC9C5DFF}" destId="{1EDCEFAF-5FD2-4CD1-862B-5EC7B49D7A2B}" srcOrd="0" destOrd="0" presId="urn:microsoft.com/office/officeart/2008/layout/PictureStrips"/>
    <dgm:cxn modelId="{2F9852B4-C0DA-4E74-BDB8-C99AD050C0E0}" type="presParOf" srcId="{A56C68E5-001B-495A-9B02-4A1CFC9C5DFF}" destId="{455DB11D-0313-4421-BB7B-AB67AE09FCBC}" srcOrd="1" destOrd="0" presId="urn:microsoft.com/office/officeart/2008/layout/PictureStrips"/>
    <dgm:cxn modelId="{D29C696D-E980-4B07-A9EF-68DB7F3CD684}" type="presParOf" srcId="{9EE2675A-A5A4-491B-9EFA-B56613CE16CB}" destId="{A9C6ED71-F380-4D74-9830-590B14862CB4}" srcOrd="7" destOrd="0" presId="urn:microsoft.com/office/officeart/2008/layout/PictureStrips"/>
    <dgm:cxn modelId="{ACF69D4B-211D-4548-9915-5EC7A4CB3CA3}" type="presParOf" srcId="{9EE2675A-A5A4-491B-9EFA-B56613CE16CB}" destId="{77610EF3-C762-4A36-B18B-3A11540D91FC}" srcOrd="8" destOrd="0" presId="urn:microsoft.com/office/officeart/2008/layout/PictureStrips"/>
    <dgm:cxn modelId="{F0E5E426-49AA-431C-8A13-C1990CCD337E}" type="presParOf" srcId="{77610EF3-C762-4A36-B18B-3A11540D91FC}" destId="{3B3C802A-21D7-442C-A236-3241734B0610}" srcOrd="0" destOrd="0" presId="urn:microsoft.com/office/officeart/2008/layout/PictureStrips"/>
    <dgm:cxn modelId="{80F2751E-186D-4D12-A02C-34A03F6CF037}" type="presParOf" srcId="{77610EF3-C762-4A36-B18B-3A11540D91FC}" destId="{4A9A6353-C4DE-4582-938E-EC8642B42B38}" srcOrd="1" destOrd="0" presId="urn:microsoft.com/office/officeart/2008/layout/PictureStrips"/>
    <dgm:cxn modelId="{3EC5D438-3414-42E7-B901-92BBB5C97BA3}" type="presParOf" srcId="{9EE2675A-A5A4-491B-9EFA-B56613CE16CB}" destId="{EC7A076F-D88D-4D31-8FB4-77C5DDCB32CE}" srcOrd="9" destOrd="0" presId="urn:microsoft.com/office/officeart/2008/layout/PictureStrips"/>
    <dgm:cxn modelId="{CA04D358-3349-4B6D-9129-575424BEE17F}" type="presParOf" srcId="{9EE2675A-A5A4-491B-9EFA-B56613CE16CB}" destId="{3DDA572C-F1E4-4E8A-B4B7-AC56CB43AB4D}" srcOrd="10" destOrd="0" presId="urn:microsoft.com/office/officeart/2008/layout/PictureStrips"/>
    <dgm:cxn modelId="{EDA1FF4F-C3AF-4975-AFEF-B8E1C85296C6}" type="presParOf" srcId="{3DDA572C-F1E4-4E8A-B4B7-AC56CB43AB4D}" destId="{5DCDCFE1-3935-4D57-A02B-044EBDC50BBE}" srcOrd="0" destOrd="0" presId="urn:microsoft.com/office/officeart/2008/layout/PictureStrips"/>
    <dgm:cxn modelId="{B230486E-544D-406B-B3B0-6A67948641C2}" type="presParOf" srcId="{3DDA572C-F1E4-4E8A-B4B7-AC56CB43AB4D}" destId="{8FF26971-1ED7-4FF6-944F-2458FCBAE00D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9E0E18C-35E5-46E6-AC5B-199B9DEC29B5}" type="doc">
      <dgm:prSet loTypeId="urn:microsoft.com/office/officeart/2005/8/layout/default" loCatId="list" qsTypeId="urn:microsoft.com/office/officeart/2005/8/quickstyle/simple2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6DE79DDE-2324-464A-91EC-3C78C75AC4C0}">
      <dgm:prSet/>
      <dgm:spPr/>
      <dgm:t>
        <a:bodyPr/>
        <a:lstStyle/>
        <a:p>
          <a:r>
            <a:rPr lang="nb-NO" dirty="0"/>
            <a:t>Studieveiledning, IKOS-emner, oppbygging, utsatt studiestart, permisjon, redusert studieprogresjon: </a:t>
          </a:r>
          <a:r>
            <a:rPr lang="nb-NO" dirty="0">
              <a:hlinkClick xmlns:r="http://schemas.openxmlformats.org/officeDocument/2006/relationships" r:id="rId1"/>
            </a:rPr>
            <a:t>studentinfo@ikos.uio.no</a:t>
          </a:r>
          <a:r>
            <a:rPr lang="nb-NO" dirty="0"/>
            <a:t> </a:t>
          </a:r>
          <a:endParaRPr lang="en-US" dirty="0"/>
        </a:p>
      </dgm:t>
    </dgm:pt>
    <dgm:pt modelId="{34633A8A-3DD8-4C9D-AEA8-B6879707AF51}" type="parTrans" cxnId="{4E4FC49D-386C-46A4-A539-0D2D657123A9}">
      <dgm:prSet/>
      <dgm:spPr/>
      <dgm:t>
        <a:bodyPr/>
        <a:lstStyle/>
        <a:p>
          <a:endParaRPr lang="en-US"/>
        </a:p>
      </dgm:t>
    </dgm:pt>
    <dgm:pt modelId="{D5B89893-2CC1-4339-B2FD-9C544BAE6E0B}" type="sibTrans" cxnId="{4E4FC49D-386C-46A4-A539-0D2D657123A9}">
      <dgm:prSet/>
      <dgm:spPr/>
      <dgm:t>
        <a:bodyPr/>
        <a:lstStyle/>
        <a:p>
          <a:endParaRPr lang="en-US"/>
        </a:p>
      </dgm:t>
    </dgm:pt>
    <dgm:pt modelId="{140B7C82-4555-490E-BDFF-39D03DE32C96}">
      <dgm:prSet custT="1"/>
      <dgm:spPr/>
      <dgm:t>
        <a:bodyPr/>
        <a:lstStyle/>
        <a:p>
          <a:r>
            <a:rPr lang="nb-NO" sz="1600" dirty="0"/>
            <a:t>Fravær på obligatoriske aktiviteter, må du fylle ut nettskjema – ikke send e-post! </a:t>
          </a:r>
          <a:r>
            <a:rPr lang="nn-NO" sz="1600" dirty="0">
              <a:hlinkClick xmlns:r="http://schemas.openxmlformats.org/officeDocument/2006/relationships" r:id="rId2"/>
            </a:rPr>
            <a:t>Obligatoriske </a:t>
          </a:r>
          <a:r>
            <a:rPr lang="nn-NO" sz="1600" dirty="0" err="1">
              <a:hlinkClick xmlns:r="http://schemas.openxmlformats.org/officeDocument/2006/relationships" r:id="rId2"/>
            </a:rPr>
            <a:t>aktiviteter</a:t>
          </a:r>
          <a:r>
            <a:rPr lang="nn-NO" sz="1600" dirty="0">
              <a:hlinkClick xmlns:r="http://schemas.openxmlformats.org/officeDocument/2006/relationships" r:id="rId2"/>
            </a:rPr>
            <a:t>/oppmøte i </a:t>
          </a:r>
          <a:r>
            <a:rPr lang="nn-NO" sz="1600" dirty="0" err="1">
              <a:hlinkClick xmlns:r="http://schemas.openxmlformats.org/officeDocument/2006/relationships" r:id="rId2"/>
            </a:rPr>
            <a:t>undervisningen</a:t>
          </a:r>
          <a:r>
            <a:rPr lang="nn-NO" sz="1600" dirty="0">
              <a:hlinkClick xmlns:r="http://schemas.openxmlformats.org/officeDocument/2006/relationships" r:id="rId2"/>
            </a:rPr>
            <a:t> på HF - Universitetet i Oslo (uio.no)</a:t>
          </a:r>
          <a:endParaRPr lang="en-US" sz="1600" dirty="0"/>
        </a:p>
      </dgm:t>
    </dgm:pt>
    <dgm:pt modelId="{F75667BF-3505-4E0C-992B-F66501F5BF7F}" type="parTrans" cxnId="{BFF8F92D-E089-49C4-8D67-7391D9A8504E}">
      <dgm:prSet/>
      <dgm:spPr/>
      <dgm:t>
        <a:bodyPr/>
        <a:lstStyle/>
        <a:p>
          <a:endParaRPr lang="en-US"/>
        </a:p>
      </dgm:t>
    </dgm:pt>
    <dgm:pt modelId="{402BC35A-718D-4570-BFAD-72E7258DCD43}" type="sibTrans" cxnId="{BFF8F92D-E089-49C4-8D67-7391D9A8504E}">
      <dgm:prSet/>
      <dgm:spPr/>
      <dgm:t>
        <a:bodyPr/>
        <a:lstStyle/>
        <a:p>
          <a:endParaRPr lang="en-US"/>
        </a:p>
      </dgm:t>
    </dgm:pt>
    <dgm:pt modelId="{EC162EF1-B1D9-48C6-B791-2D56286A8223}">
      <dgm:prSet custT="1"/>
      <dgm:spPr/>
      <dgm:t>
        <a:bodyPr/>
        <a:lstStyle/>
        <a:p>
          <a:r>
            <a:rPr lang="nb-NO" sz="1600" dirty="0"/>
            <a:t>Skoleeksamen, tilrettelagt eksamen, </a:t>
          </a:r>
          <a:r>
            <a:rPr lang="nb-NO" sz="1600" dirty="0" err="1"/>
            <a:t>sykdompå</a:t>
          </a:r>
          <a:r>
            <a:rPr lang="nb-NO" sz="1600" dirty="0"/>
            <a:t> eksamen: </a:t>
          </a:r>
          <a:r>
            <a:rPr lang="en-GB" sz="1600" dirty="0">
              <a:hlinkClick xmlns:r="http://schemas.openxmlformats.org/officeDocument/2006/relationships" r:id="rId3"/>
            </a:rPr>
            <a:t>HF-</a:t>
          </a:r>
          <a:r>
            <a:rPr lang="en-GB" sz="1600" dirty="0" err="1">
              <a:hlinkClick xmlns:r="http://schemas.openxmlformats.org/officeDocument/2006/relationships" r:id="rId3"/>
            </a:rPr>
            <a:t>studieinfo</a:t>
          </a:r>
          <a:r>
            <a:rPr lang="en-GB" sz="1600" dirty="0">
              <a:hlinkClick xmlns:r="http://schemas.openxmlformats.org/officeDocument/2006/relationships" r:id="rId3"/>
            </a:rPr>
            <a:t> - Det </a:t>
          </a:r>
          <a:r>
            <a:rPr lang="en-GB" sz="1600" dirty="0" err="1">
              <a:hlinkClick xmlns:r="http://schemas.openxmlformats.org/officeDocument/2006/relationships" r:id="rId3"/>
            </a:rPr>
            <a:t>humanistiske</a:t>
          </a:r>
          <a:r>
            <a:rPr lang="en-GB" sz="1600" dirty="0">
              <a:hlinkClick xmlns:r="http://schemas.openxmlformats.org/officeDocument/2006/relationships" r:id="rId3"/>
            </a:rPr>
            <a:t> </a:t>
          </a:r>
          <a:r>
            <a:rPr lang="en-GB" sz="1600" dirty="0" err="1">
              <a:hlinkClick xmlns:r="http://schemas.openxmlformats.org/officeDocument/2006/relationships" r:id="rId3"/>
            </a:rPr>
            <a:t>fakultet</a:t>
          </a:r>
          <a:r>
            <a:rPr lang="en-GB" sz="1600" dirty="0">
              <a:hlinkClick xmlns:r="http://schemas.openxmlformats.org/officeDocument/2006/relationships" r:id="rId3"/>
            </a:rPr>
            <a:t> (uio.no)</a:t>
          </a:r>
          <a:endParaRPr lang="en-US" sz="1600" dirty="0"/>
        </a:p>
      </dgm:t>
    </dgm:pt>
    <dgm:pt modelId="{C012AE7F-2593-4A54-8F40-A087A0E70F1E}" type="parTrans" cxnId="{38D1BBF4-8A1F-4075-83CE-3051B2F44C57}">
      <dgm:prSet/>
      <dgm:spPr/>
      <dgm:t>
        <a:bodyPr/>
        <a:lstStyle/>
        <a:p>
          <a:endParaRPr lang="en-US"/>
        </a:p>
      </dgm:t>
    </dgm:pt>
    <dgm:pt modelId="{37D6D49C-1D97-4024-ADE5-3A4C1E11F4BB}" type="sibTrans" cxnId="{38D1BBF4-8A1F-4075-83CE-3051B2F44C57}">
      <dgm:prSet/>
      <dgm:spPr/>
      <dgm:t>
        <a:bodyPr/>
        <a:lstStyle/>
        <a:p>
          <a:endParaRPr lang="en-US"/>
        </a:p>
      </dgm:t>
    </dgm:pt>
    <dgm:pt modelId="{8923C83C-5160-47A9-ADAC-41B7FCE4A6D2}">
      <dgm:prSet custT="1"/>
      <dgm:spPr/>
      <dgm:t>
        <a:bodyPr/>
        <a:lstStyle/>
        <a:p>
          <a:r>
            <a:rPr lang="nb-NO" sz="1600"/>
            <a:t>Semesteroppgave, 3-dagers hjemmeeksamen: </a:t>
          </a:r>
          <a:r>
            <a:rPr lang="nb-NO" sz="1600">
              <a:hlinkClick xmlns:r="http://schemas.openxmlformats.org/officeDocument/2006/relationships" r:id="rId1"/>
            </a:rPr>
            <a:t>studentinfo@ikos.uio.no</a:t>
          </a:r>
          <a:r>
            <a:rPr lang="nb-NO" sz="1600"/>
            <a:t> </a:t>
          </a:r>
          <a:endParaRPr lang="en-US" sz="1600"/>
        </a:p>
      </dgm:t>
    </dgm:pt>
    <dgm:pt modelId="{5648D21C-F016-4C2A-98CC-16ACEE5547D5}" type="parTrans" cxnId="{59F5DDA4-DD12-4562-9CE7-F02F24128D87}">
      <dgm:prSet/>
      <dgm:spPr/>
      <dgm:t>
        <a:bodyPr/>
        <a:lstStyle/>
        <a:p>
          <a:endParaRPr lang="en-US"/>
        </a:p>
      </dgm:t>
    </dgm:pt>
    <dgm:pt modelId="{AD54F710-A7A3-42F5-A635-BCC8FE8185B5}" type="sibTrans" cxnId="{59F5DDA4-DD12-4562-9CE7-F02F24128D87}">
      <dgm:prSet/>
      <dgm:spPr/>
      <dgm:t>
        <a:bodyPr/>
        <a:lstStyle/>
        <a:p>
          <a:endParaRPr lang="en-US"/>
        </a:p>
      </dgm:t>
    </dgm:pt>
    <dgm:pt modelId="{4F689FE6-8BE1-4AA2-84C6-B9B3965F104A}">
      <dgm:prSet custT="1"/>
      <dgm:spPr/>
      <dgm:t>
        <a:bodyPr/>
        <a:lstStyle/>
        <a:p>
          <a:r>
            <a:rPr lang="nb-NO" sz="1600" dirty="0"/>
            <a:t>Emner som tilbys av noen andre enn IKOS: </a:t>
          </a:r>
          <a:r>
            <a:rPr lang="nb-NO" sz="1600" i="1" dirty="0"/>
            <a:t>Studiekonsulenten eller infosenteret som administrerer emnet. </a:t>
          </a:r>
          <a:endParaRPr lang="en-US" sz="1600" dirty="0"/>
        </a:p>
      </dgm:t>
    </dgm:pt>
    <dgm:pt modelId="{492BD19E-3450-42C9-8B64-9CF4B7B242DC}" type="parTrans" cxnId="{004C8EB5-D635-4886-B8EF-38170AB749BE}">
      <dgm:prSet/>
      <dgm:spPr/>
      <dgm:t>
        <a:bodyPr/>
        <a:lstStyle/>
        <a:p>
          <a:endParaRPr lang="en-US"/>
        </a:p>
      </dgm:t>
    </dgm:pt>
    <dgm:pt modelId="{4157A066-CF65-4A37-A2DF-42C00F9A8F0B}" type="sibTrans" cxnId="{004C8EB5-D635-4886-B8EF-38170AB749BE}">
      <dgm:prSet/>
      <dgm:spPr/>
      <dgm:t>
        <a:bodyPr/>
        <a:lstStyle/>
        <a:p>
          <a:endParaRPr lang="en-US"/>
        </a:p>
      </dgm:t>
    </dgm:pt>
    <dgm:pt modelId="{A3A75BBB-CBCF-4ADC-8FA1-AFE7373C8706}">
      <dgm:prSet custT="1"/>
      <dgm:spPr/>
      <dgm:t>
        <a:bodyPr/>
        <a:lstStyle/>
        <a:p>
          <a:r>
            <a:rPr lang="nb-NO" sz="1600" dirty="0"/>
            <a:t>Karakterutskrift og vitnemål: </a:t>
          </a:r>
          <a:r>
            <a:rPr lang="en-GB" sz="1600" dirty="0">
              <a:hlinkClick xmlns:r="http://schemas.openxmlformats.org/officeDocument/2006/relationships" r:id="rId3"/>
            </a:rPr>
            <a:t>HF-</a:t>
          </a:r>
          <a:r>
            <a:rPr lang="en-GB" sz="1600" dirty="0" err="1">
              <a:hlinkClick xmlns:r="http://schemas.openxmlformats.org/officeDocument/2006/relationships" r:id="rId3"/>
            </a:rPr>
            <a:t>studieinfo</a:t>
          </a:r>
          <a:r>
            <a:rPr lang="en-GB" sz="1600" dirty="0">
              <a:hlinkClick xmlns:r="http://schemas.openxmlformats.org/officeDocument/2006/relationships" r:id="rId3"/>
            </a:rPr>
            <a:t> - Det </a:t>
          </a:r>
          <a:r>
            <a:rPr lang="en-GB" sz="1600" dirty="0" err="1">
              <a:hlinkClick xmlns:r="http://schemas.openxmlformats.org/officeDocument/2006/relationships" r:id="rId3"/>
            </a:rPr>
            <a:t>humanistiske</a:t>
          </a:r>
          <a:r>
            <a:rPr lang="en-GB" sz="1600" dirty="0">
              <a:hlinkClick xmlns:r="http://schemas.openxmlformats.org/officeDocument/2006/relationships" r:id="rId3"/>
            </a:rPr>
            <a:t> </a:t>
          </a:r>
          <a:r>
            <a:rPr lang="en-GB" sz="1600" dirty="0" err="1">
              <a:hlinkClick xmlns:r="http://schemas.openxmlformats.org/officeDocument/2006/relationships" r:id="rId3"/>
            </a:rPr>
            <a:t>fakultet</a:t>
          </a:r>
          <a:r>
            <a:rPr lang="en-GB" sz="1600" dirty="0">
              <a:hlinkClick xmlns:r="http://schemas.openxmlformats.org/officeDocument/2006/relationships" r:id="rId3"/>
            </a:rPr>
            <a:t> (uio.no)</a:t>
          </a:r>
          <a:endParaRPr lang="en-US" sz="1600" dirty="0"/>
        </a:p>
      </dgm:t>
    </dgm:pt>
    <dgm:pt modelId="{5B6E4635-B044-4B37-98AB-2B2CF10F7EC5}" type="parTrans" cxnId="{167AD793-4AEF-4347-9DA3-6564EFB0D034}">
      <dgm:prSet/>
      <dgm:spPr/>
      <dgm:t>
        <a:bodyPr/>
        <a:lstStyle/>
        <a:p>
          <a:endParaRPr lang="en-US"/>
        </a:p>
      </dgm:t>
    </dgm:pt>
    <dgm:pt modelId="{4DACAFA3-ED8E-4A92-BDDB-203ABF0D21D0}" type="sibTrans" cxnId="{167AD793-4AEF-4347-9DA3-6564EFB0D034}">
      <dgm:prSet/>
      <dgm:spPr/>
      <dgm:t>
        <a:bodyPr/>
        <a:lstStyle/>
        <a:p>
          <a:endParaRPr lang="en-US"/>
        </a:p>
      </dgm:t>
    </dgm:pt>
    <dgm:pt modelId="{4BE1A313-0520-45FB-AFFD-9B3911C7A33F}">
      <dgm:prSet custT="1"/>
      <dgm:spPr/>
      <dgm:t>
        <a:bodyPr/>
        <a:lstStyle/>
        <a:p>
          <a:r>
            <a:rPr lang="nb-NO" sz="1600" dirty="0"/>
            <a:t>Oppmelding til emner, frister, semesteravgift: </a:t>
          </a:r>
          <a:r>
            <a:rPr lang="en-GB" sz="1600" dirty="0">
              <a:hlinkClick xmlns:r="http://schemas.openxmlformats.org/officeDocument/2006/relationships" r:id="rId3"/>
            </a:rPr>
            <a:t>HF-</a:t>
          </a:r>
          <a:r>
            <a:rPr lang="en-GB" sz="1600" dirty="0" err="1">
              <a:hlinkClick xmlns:r="http://schemas.openxmlformats.org/officeDocument/2006/relationships" r:id="rId3"/>
            </a:rPr>
            <a:t>studieinfo</a:t>
          </a:r>
          <a:r>
            <a:rPr lang="en-GB" sz="1600" dirty="0">
              <a:hlinkClick xmlns:r="http://schemas.openxmlformats.org/officeDocument/2006/relationships" r:id="rId3"/>
            </a:rPr>
            <a:t> - Det </a:t>
          </a:r>
          <a:r>
            <a:rPr lang="en-GB" sz="1600" dirty="0" err="1">
              <a:hlinkClick xmlns:r="http://schemas.openxmlformats.org/officeDocument/2006/relationships" r:id="rId3"/>
            </a:rPr>
            <a:t>humanistiske</a:t>
          </a:r>
          <a:r>
            <a:rPr lang="en-GB" sz="1600" dirty="0">
              <a:hlinkClick xmlns:r="http://schemas.openxmlformats.org/officeDocument/2006/relationships" r:id="rId3"/>
            </a:rPr>
            <a:t> </a:t>
          </a:r>
          <a:r>
            <a:rPr lang="en-GB" sz="1600" dirty="0" err="1">
              <a:hlinkClick xmlns:r="http://schemas.openxmlformats.org/officeDocument/2006/relationships" r:id="rId3"/>
            </a:rPr>
            <a:t>fakultet</a:t>
          </a:r>
          <a:r>
            <a:rPr lang="en-GB" sz="1600" dirty="0">
              <a:hlinkClick xmlns:r="http://schemas.openxmlformats.org/officeDocument/2006/relationships" r:id="rId3"/>
            </a:rPr>
            <a:t> (uio.no)</a:t>
          </a:r>
          <a:endParaRPr lang="en-US" sz="1600" dirty="0"/>
        </a:p>
      </dgm:t>
    </dgm:pt>
    <dgm:pt modelId="{D03D8C42-694E-422D-9361-6EAA20C18E77}" type="parTrans" cxnId="{6D16AD1F-7376-4A60-B825-E8679EDA811B}">
      <dgm:prSet/>
      <dgm:spPr/>
      <dgm:t>
        <a:bodyPr/>
        <a:lstStyle/>
        <a:p>
          <a:endParaRPr lang="en-US"/>
        </a:p>
      </dgm:t>
    </dgm:pt>
    <dgm:pt modelId="{C28FE388-08F3-4184-A66E-CB0DF09870ED}" type="sibTrans" cxnId="{6D16AD1F-7376-4A60-B825-E8679EDA811B}">
      <dgm:prSet/>
      <dgm:spPr/>
      <dgm:t>
        <a:bodyPr/>
        <a:lstStyle/>
        <a:p>
          <a:endParaRPr lang="en-US"/>
        </a:p>
      </dgm:t>
    </dgm:pt>
    <dgm:pt modelId="{8155D634-333D-485D-AF57-E44806E9E2DA}">
      <dgm:prSet custT="1"/>
      <dgm:spPr/>
      <dgm:t>
        <a:bodyPr/>
        <a:lstStyle/>
        <a:p>
          <a:r>
            <a:rPr lang="nb-NO" sz="1600" dirty="0"/>
            <a:t>IT-tjenester: </a:t>
          </a:r>
          <a:r>
            <a:rPr lang="en-GB" sz="1600" dirty="0">
              <a:hlinkClick xmlns:r="http://schemas.openxmlformats.org/officeDocument/2006/relationships" r:id="rId4"/>
            </a:rPr>
            <a:t>IT-</a:t>
          </a:r>
          <a:r>
            <a:rPr lang="en-GB" sz="1600" dirty="0" err="1">
              <a:hlinkClick xmlns:r="http://schemas.openxmlformats.org/officeDocument/2006/relationships" r:id="rId4"/>
            </a:rPr>
            <a:t>hjelp</a:t>
          </a:r>
          <a:r>
            <a:rPr lang="en-GB" sz="1600" dirty="0">
              <a:hlinkClick xmlns:r="http://schemas.openxmlformats.org/officeDocument/2006/relationships" r:id="rId4"/>
            </a:rPr>
            <a:t> – </a:t>
          </a:r>
          <a:r>
            <a:rPr lang="en-GB" sz="1600" dirty="0" err="1">
              <a:hlinkClick xmlns:r="http://schemas.openxmlformats.org/officeDocument/2006/relationships" r:id="rId4"/>
            </a:rPr>
            <a:t>felles</a:t>
          </a:r>
          <a:r>
            <a:rPr lang="en-GB" sz="1600" dirty="0">
              <a:hlinkClick xmlns:r="http://schemas.openxmlformats.org/officeDocument/2006/relationships" r:id="rId4"/>
            </a:rPr>
            <a:t> </a:t>
          </a:r>
          <a:r>
            <a:rPr lang="en-GB" sz="1600" dirty="0" err="1">
              <a:hlinkClick xmlns:r="http://schemas.openxmlformats.org/officeDocument/2006/relationships" r:id="rId4"/>
            </a:rPr>
            <a:t>kontaktpunkt</a:t>
          </a:r>
          <a:r>
            <a:rPr lang="en-GB" sz="1600" dirty="0">
              <a:hlinkClick xmlns:r="http://schemas.openxmlformats.org/officeDocument/2006/relationships" r:id="rId4"/>
            </a:rPr>
            <a:t> for all </a:t>
          </a:r>
          <a:r>
            <a:rPr lang="en-GB" sz="1600" dirty="0" err="1">
              <a:hlinkClick xmlns:r="http://schemas.openxmlformats.org/officeDocument/2006/relationships" r:id="rId4"/>
            </a:rPr>
            <a:t>brukerstøtte</a:t>
          </a:r>
          <a:r>
            <a:rPr lang="en-GB" sz="1600" dirty="0">
              <a:hlinkClick xmlns:r="http://schemas.openxmlformats.org/officeDocument/2006/relationships" r:id="rId4"/>
            </a:rPr>
            <a:t> for IT </a:t>
          </a:r>
          <a:r>
            <a:rPr lang="en-GB" sz="1600" dirty="0" err="1">
              <a:hlinkClick xmlns:r="http://schemas.openxmlformats.org/officeDocument/2006/relationships" r:id="rId4"/>
            </a:rPr>
            <a:t>på</a:t>
          </a:r>
          <a:r>
            <a:rPr lang="en-GB" sz="1600" dirty="0">
              <a:hlinkClick xmlns:r="http://schemas.openxmlformats.org/officeDocument/2006/relationships" r:id="rId4"/>
            </a:rPr>
            <a:t> </a:t>
          </a:r>
          <a:r>
            <a:rPr lang="en-GB" sz="1600" dirty="0" err="1">
              <a:hlinkClick xmlns:r="http://schemas.openxmlformats.org/officeDocument/2006/relationships" r:id="rId4"/>
            </a:rPr>
            <a:t>UiO</a:t>
          </a:r>
          <a:r>
            <a:rPr lang="en-GB" sz="1600" dirty="0">
              <a:hlinkClick xmlns:r="http://schemas.openxmlformats.org/officeDocument/2006/relationships" r:id="rId4"/>
            </a:rPr>
            <a:t> - </a:t>
          </a:r>
          <a:r>
            <a:rPr lang="en-GB" sz="1600" dirty="0" err="1">
              <a:hlinkClick xmlns:r="http://schemas.openxmlformats.org/officeDocument/2006/relationships" r:id="rId4"/>
            </a:rPr>
            <a:t>Universitetet</a:t>
          </a:r>
          <a:r>
            <a:rPr lang="en-GB" sz="1600" dirty="0">
              <a:hlinkClick xmlns:r="http://schemas.openxmlformats.org/officeDocument/2006/relationships" r:id="rId4"/>
            </a:rPr>
            <a:t> </a:t>
          </a:r>
          <a:r>
            <a:rPr lang="en-GB" sz="1600" dirty="0" err="1">
              <a:hlinkClick xmlns:r="http://schemas.openxmlformats.org/officeDocument/2006/relationships" r:id="rId4"/>
            </a:rPr>
            <a:t>i</a:t>
          </a:r>
          <a:r>
            <a:rPr lang="en-GB" sz="1600" dirty="0">
              <a:hlinkClick xmlns:r="http://schemas.openxmlformats.org/officeDocument/2006/relationships" r:id="rId4"/>
            </a:rPr>
            <a:t> Oslo</a:t>
          </a:r>
          <a:endParaRPr lang="en-US" sz="1600" dirty="0"/>
        </a:p>
      </dgm:t>
    </dgm:pt>
    <dgm:pt modelId="{77367F03-4B50-4221-B1AF-AD4B7A762231}" type="parTrans" cxnId="{05C7C9E2-6BF0-4E24-BFCE-B786C7F3F143}">
      <dgm:prSet/>
      <dgm:spPr/>
      <dgm:t>
        <a:bodyPr/>
        <a:lstStyle/>
        <a:p>
          <a:endParaRPr lang="en-US"/>
        </a:p>
      </dgm:t>
    </dgm:pt>
    <dgm:pt modelId="{25FFA6A2-C3F9-4BE1-9D63-00BE92B00C2B}" type="sibTrans" cxnId="{05C7C9E2-6BF0-4E24-BFCE-B786C7F3F143}">
      <dgm:prSet/>
      <dgm:spPr/>
      <dgm:t>
        <a:bodyPr/>
        <a:lstStyle/>
        <a:p>
          <a:endParaRPr lang="en-US"/>
        </a:p>
      </dgm:t>
    </dgm:pt>
    <dgm:pt modelId="{DB569130-0777-42AE-B5DD-5CB82CC224CC}" type="pres">
      <dgm:prSet presAssocID="{99E0E18C-35E5-46E6-AC5B-199B9DEC29B5}" presName="diagram" presStyleCnt="0">
        <dgm:presLayoutVars>
          <dgm:dir/>
          <dgm:resizeHandles val="exact"/>
        </dgm:presLayoutVars>
      </dgm:prSet>
      <dgm:spPr/>
    </dgm:pt>
    <dgm:pt modelId="{21B0BB40-0C9A-4F5D-9CFB-E24C7B01EAEC}" type="pres">
      <dgm:prSet presAssocID="{6DE79DDE-2324-464A-91EC-3C78C75AC4C0}" presName="node" presStyleLbl="node1" presStyleIdx="0" presStyleCnt="8">
        <dgm:presLayoutVars>
          <dgm:bulletEnabled val="1"/>
        </dgm:presLayoutVars>
      </dgm:prSet>
      <dgm:spPr/>
    </dgm:pt>
    <dgm:pt modelId="{72889406-F263-4EC4-93BA-164B182E1E96}" type="pres">
      <dgm:prSet presAssocID="{D5B89893-2CC1-4339-B2FD-9C544BAE6E0B}" presName="sibTrans" presStyleCnt="0"/>
      <dgm:spPr/>
    </dgm:pt>
    <dgm:pt modelId="{C117C79A-03CA-4C49-B983-18B203DF969C}" type="pres">
      <dgm:prSet presAssocID="{140B7C82-4555-490E-BDFF-39D03DE32C96}" presName="node" presStyleLbl="node1" presStyleIdx="1" presStyleCnt="8">
        <dgm:presLayoutVars>
          <dgm:bulletEnabled val="1"/>
        </dgm:presLayoutVars>
      </dgm:prSet>
      <dgm:spPr/>
    </dgm:pt>
    <dgm:pt modelId="{8099214E-C906-4278-990A-1C29DE2FBBBB}" type="pres">
      <dgm:prSet presAssocID="{402BC35A-718D-4570-BFAD-72E7258DCD43}" presName="sibTrans" presStyleCnt="0"/>
      <dgm:spPr/>
    </dgm:pt>
    <dgm:pt modelId="{9C6D622E-AD7A-4E6E-A605-DB90EF970084}" type="pres">
      <dgm:prSet presAssocID="{EC162EF1-B1D9-48C6-B791-2D56286A8223}" presName="node" presStyleLbl="node1" presStyleIdx="2" presStyleCnt="8">
        <dgm:presLayoutVars>
          <dgm:bulletEnabled val="1"/>
        </dgm:presLayoutVars>
      </dgm:prSet>
      <dgm:spPr/>
    </dgm:pt>
    <dgm:pt modelId="{2A463BFE-EE97-4D66-8090-0FAF3BD93B18}" type="pres">
      <dgm:prSet presAssocID="{37D6D49C-1D97-4024-ADE5-3A4C1E11F4BB}" presName="sibTrans" presStyleCnt="0"/>
      <dgm:spPr/>
    </dgm:pt>
    <dgm:pt modelId="{35A60791-5A19-47C0-B23C-0E75A3C7F91D}" type="pres">
      <dgm:prSet presAssocID="{8923C83C-5160-47A9-ADAC-41B7FCE4A6D2}" presName="node" presStyleLbl="node1" presStyleIdx="3" presStyleCnt="8">
        <dgm:presLayoutVars>
          <dgm:bulletEnabled val="1"/>
        </dgm:presLayoutVars>
      </dgm:prSet>
      <dgm:spPr/>
    </dgm:pt>
    <dgm:pt modelId="{44D097C9-B60F-462D-A9D0-FB3DC8F6445B}" type="pres">
      <dgm:prSet presAssocID="{AD54F710-A7A3-42F5-A635-BCC8FE8185B5}" presName="sibTrans" presStyleCnt="0"/>
      <dgm:spPr/>
    </dgm:pt>
    <dgm:pt modelId="{0745DFD2-5052-4AE6-802E-898517761DE0}" type="pres">
      <dgm:prSet presAssocID="{4F689FE6-8BE1-4AA2-84C6-B9B3965F104A}" presName="node" presStyleLbl="node1" presStyleIdx="4" presStyleCnt="8">
        <dgm:presLayoutVars>
          <dgm:bulletEnabled val="1"/>
        </dgm:presLayoutVars>
      </dgm:prSet>
      <dgm:spPr/>
    </dgm:pt>
    <dgm:pt modelId="{33689FDE-7147-4878-A9C7-EAF362938337}" type="pres">
      <dgm:prSet presAssocID="{4157A066-CF65-4A37-A2DF-42C00F9A8F0B}" presName="sibTrans" presStyleCnt="0"/>
      <dgm:spPr/>
    </dgm:pt>
    <dgm:pt modelId="{13F47D82-FE68-444A-B869-637A637ED5C0}" type="pres">
      <dgm:prSet presAssocID="{A3A75BBB-CBCF-4ADC-8FA1-AFE7373C8706}" presName="node" presStyleLbl="node1" presStyleIdx="5" presStyleCnt="8">
        <dgm:presLayoutVars>
          <dgm:bulletEnabled val="1"/>
        </dgm:presLayoutVars>
      </dgm:prSet>
      <dgm:spPr/>
    </dgm:pt>
    <dgm:pt modelId="{3BC24666-A737-4917-9306-16141DF596BA}" type="pres">
      <dgm:prSet presAssocID="{4DACAFA3-ED8E-4A92-BDDB-203ABF0D21D0}" presName="sibTrans" presStyleCnt="0"/>
      <dgm:spPr/>
    </dgm:pt>
    <dgm:pt modelId="{51DE9ACD-1F4C-42D6-A16D-D1384A927CBE}" type="pres">
      <dgm:prSet presAssocID="{4BE1A313-0520-45FB-AFFD-9B3911C7A33F}" presName="node" presStyleLbl="node1" presStyleIdx="6" presStyleCnt="8">
        <dgm:presLayoutVars>
          <dgm:bulletEnabled val="1"/>
        </dgm:presLayoutVars>
      </dgm:prSet>
      <dgm:spPr/>
    </dgm:pt>
    <dgm:pt modelId="{982E1EA1-4E0F-4A8A-8FD4-1E8FE833FE10}" type="pres">
      <dgm:prSet presAssocID="{C28FE388-08F3-4184-A66E-CB0DF09870ED}" presName="sibTrans" presStyleCnt="0"/>
      <dgm:spPr/>
    </dgm:pt>
    <dgm:pt modelId="{D88967C2-A8A8-41F9-8369-AB4E252DAB0F}" type="pres">
      <dgm:prSet presAssocID="{8155D634-333D-485D-AF57-E44806E9E2DA}" presName="node" presStyleLbl="node1" presStyleIdx="7" presStyleCnt="8">
        <dgm:presLayoutVars>
          <dgm:bulletEnabled val="1"/>
        </dgm:presLayoutVars>
      </dgm:prSet>
      <dgm:spPr/>
    </dgm:pt>
  </dgm:ptLst>
  <dgm:cxnLst>
    <dgm:cxn modelId="{DB407D1F-56D0-410E-89F0-25DB12C5046D}" type="presOf" srcId="{140B7C82-4555-490E-BDFF-39D03DE32C96}" destId="{C117C79A-03CA-4C49-B983-18B203DF969C}" srcOrd="0" destOrd="0" presId="urn:microsoft.com/office/officeart/2005/8/layout/default"/>
    <dgm:cxn modelId="{6D16AD1F-7376-4A60-B825-E8679EDA811B}" srcId="{99E0E18C-35E5-46E6-AC5B-199B9DEC29B5}" destId="{4BE1A313-0520-45FB-AFFD-9B3911C7A33F}" srcOrd="6" destOrd="0" parTransId="{D03D8C42-694E-422D-9361-6EAA20C18E77}" sibTransId="{C28FE388-08F3-4184-A66E-CB0DF09870ED}"/>
    <dgm:cxn modelId="{BFF8F92D-E089-49C4-8D67-7391D9A8504E}" srcId="{99E0E18C-35E5-46E6-AC5B-199B9DEC29B5}" destId="{140B7C82-4555-490E-BDFF-39D03DE32C96}" srcOrd="1" destOrd="0" parTransId="{F75667BF-3505-4E0C-992B-F66501F5BF7F}" sibTransId="{402BC35A-718D-4570-BFAD-72E7258DCD43}"/>
    <dgm:cxn modelId="{242D2933-C5F4-498E-A868-A121B649F5DC}" type="presOf" srcId="{6DE79DDE-2324-464A-91EC-3C78C75AC4C0}" destId="{21B0BB40-0C9A-4F5D-9CFB-E24C7B01EAEC}" srcOrd="0" destOrd="0" presId="urn:microsoft.com/office/officeart/2005/8/layout/default"/>
    <dgm:cxn modelId="{1B77355D-8544-4C6B-9C3D-3CDAB431BE39}" type="presOf" srcId="{EC162EF1-B1D9-48C6-B791-2D56286A8223}" destId="{9C6D622E-AD7A-4E6E-A605-DB90EF970084}" srcOrd="0" destOrd="0" presId="urn:microsoft.com/office/officeart/2005/8/layout/default"/>
    <dgm:cxn modelId="{9E7E2847-322D-406C-A999-4A633FD6AA59}" type="presOf" srcId="{4BE1A313-0520-45FB-AFFD-9B3911C7A33F}" destId="{51DE9ACD-1F4C-42D6-A16D-D1384A927CBE}" srcOrd="0" destOrd="0" presId="urn:microsoft.com/office/officeart/2005/8/layout/default"/>
    <dgm:cxn modelId="{11426A51-2C9F-4134-AAE3-639AE5EE36A8}" type="presOf" srcId="{4F689FE6-8BE1-4AA2-84C6-B9B3965F104A}" destId="{0745DFD2-5052-4AE6-802E-898517761DE0}" srcOrd="0" destOrd="0" presId="urn:microsoft.com/office/officeart/2005/8/layout/default"/>
    <dgm:cxn modelId="{DFFF0E7F-FC9C-4E1B-B603-884042CF5B2A}" type="presOf" srcId="{A3A75BBB-CBCF-4ADC-8FA1-AFE7373C8706}" destId="{13F47D82-FE68-444A-B869-637A637ED5C0}" srcOrd="0" destOrd="0" presId="urn:microsoft.com/office/officeart/2005/8/layout/default"/>
    <dgm:cxn modelId="{167AD793-4AEF-4347-9DA3-6564EFB0D034}" srcId="{99E0E18C-35E5-46E6-AC5B-199B9DEC29B5}" destId="{A3A75BBB-CBCF-4ADC-8FA1-AFE7373C8706}" srcOrd="5" destOrd="0" parTransId="{5B6E4635-B044-4B37-98AB-2B2CF10F7EC5}" sibTransId="{4DACAFA3-ED8E-4A92-BDDB-203ABF0D21D0}"/>
    <dgm:cxn modelId="{4E4FC49D-386C-46A4-A539-0D2D657123A9}" srcId="{99E0E18C-35E5-46E6-AC5B-199B9DEC29B5}" destId="{6DE79DDE-2324-464A-91EC-3C78C75AC4C0}" srcOrd="0" destOrd="0" parTransId="{34633A8A-3DD8-4C9D-AEA8-B6879707AF51}" sibTransId="{D5B89893-2CC1-4339-B2FD-9C544BAE6E0B}"/>
    <dgm:cxn modelId="{59F5DDA4-DD12-4562-9CE7-F02F24128D87}" srcId="{99E0E18C-35E5-46E6-AC5B-199B9DEC29B5}" destId="{8923C83C-5160-47A9-ADAC-41B7FCE4A6D2}" srcOrd="3" destOrd="0" parTransId="{5648D21C-F016-4C2A-98CC-16ACEE5547D5}" sibTransId="{AD54F710-A7A3-42F5-A635-BCC8FE8185B5}"/>
    <dgm:cxn modelId="{BFEC93B1-3FA0-4581-9289-936150BF915F}" type="presOf" srcId="{8923C83C-5160-47A9-ADAC-41B7FCE4A6D2}" destId="{35A60791-5A19-47C0-B23C-0E75A3C7F91D}" srcOrd="0" destOrd="0" presId="urn:microsoft.com/office/officeart/2005/8/layout/default"/>
    <dgm:cxn modelId="{004C8EB5-D635-4886-B8EF-38170AB749BE}" srcId="{99E0E18C-35E5-46E6-AC5B-199B9DEC29B5}" destId="{4F689FE6-8BE1-4AA2-84C6-B9B3965F104A}" srcOrd="4" destOrd="0" parTransId="{492BD19E-3450-42C9-8B64-9CF4B7B242DC}" sibTransId="{4157A066-CF65-4A37-A2DF-42C00F9A8F0B}"/>
    <dgm:cxn modelId="{B7D0D9D9-74AB-4CB0-8200-DFA788331411}" type="presOf" srcId="{99E0E18C-35E5-46E6-AC5B-199B9DEC29B5}" destId="{DB569130-0777-42AE-B5DD-5CB82CC224CC}" srcOrd="0" destOrd="0" presId="urn:microsoft.com/office/officeart/2005/8/layout/default"/>
    <dgm:cxn modelId="{05C7C9E2-6BF0-4E24-BFCE-B786C7F3F143}" srcId="{99E0E18C-35E5-46E6-AC5B-199B9DEC29B5}" destId="{8155D634-333D-485D-AF57-E44806E9E2DA}" srcOrd="7" destOrd="0" parTransId="{77367F03-4B50-4221-B1AF-AD4B7A762231}" sibTransId="{25FFA6A2-C3F9-4BE1-9D63-00BE92B00C2B}"/>
    <dgm:cxn modelId="{7A4436F4-69C5-42CB-86C0-288F2A9D5F88}" type="presOf" srcId="{8155D634-333D-485D-AF57-E44806E9E2DA}" destId="{D88967C2-A8A8-41F9-8369-AB4E252DAB0F}" srcOrd="0" destOrd="0" presId="urn:microsoft.com/office/officeart/2005/8/layout/default"/>
    <dgm:cxn modelId="{38D1BBF4-8A1F-4075-83CE-3051B2F44C57}" srcId="{99E0E18C-35E5-46E6-AC5B-199B9DEC29B5}" destId="{EC162EF1-B1D9-48C6-B791-2D56286A8223}" srcOrd="2" destOrd="0" parTransId="{C012AE7F-2593-4A54-8F40-A087A0E70F1E}" sibTransId="{37D6D49C-1D97-4024-ADE5-3A4C1E11F4BB}"/>
    <dgm:cxn modelId="{CC837DE3-F1B0-41C9-9BDF-E1731FCB51E2}" type="presParOf" srcId="{DB569130-0777-42AE-B5DD-5CB82CC224CC}" destId="{21B0BB40-0C9A-4F5D-9CFB-E24C7B01EAEC}" srcOrd="0" destOrd="0" presId="urn:microsoft.com/office/officeart/2005/8/layout/default"/>
    <dgm:cxn modelId="{BBBAEAC5-4FE6-4D59-B6DA-FC5886AA4D7F}" type="presParOf" srcId="{DB569130-0777-42AE-B5DD-5CB82CC224CC}" destId="{72889406-F263-4EC4-93BA-164B182E1E96}" srcOrd="1" destOrd="0" presId="urn:microsoft.com/office/officeart/2005/8/layout/default"/>
    <dgm:cxn modelId="{AFE0EAB6-8856-496C-B595-B4FE17DB63C7}" type="presParOf" srcId="{DB569130-0777-42AE-B5DD-5CB82CC224CC}" destId="{C117C79A-03CA-4C49-B983-18B203DF969C}" srcOrd="2" destOrd="0" presId="urn:microsoft.com/office/officeart/2005/8/layout/default"/>
    <dgm:cxn modelId="{E67CB1E4-2EF0-43E5-A43A-2521C129C812}" type="presParOf" srcId="{DB569130-0777-42AE-B5DD-5CB82CC224CC}" destId="{8099214E-C906-4278-990A-1C29DE2FBBBB}" srcOrd="3" destOrd="0" presId="urn:microsoft.com/office/officeart/2005/8/layout/default"/>
    <dgm:cxn modelId="{592F1B0B-AB49-4B66-82B7-271EBDE650BE}" type="presParOf" srcId="{DB569130-0777-42AE-B5DD-5CB82CC224CC}" destId="{9C6D622E-AD7A-4E6E-A605-DB90EF970084}" srcOrd="4" destOrd="0" presId="urn:microsoft.com/office/officeart/2005/8/layout/default"/>
    <dgm:cxn modelId="{BDF62801-61E9-4A38-8488-D26B9C5E2365}" type="presParOf" srcId="{DB569130-0777-42AE-B5DD-5CB82CC224CC}" destId="{2A463BFE-EE97-4D66-8090-0FAF3BD93B18}" srcOrd="5" destOrd="0" presId="urn:microsoft.com/office/officeart/2005/8/layout/default"/>
    <dgm:cxn modelId="{414964B7-A2A3-406E-8339-6E6D10252A5E}" type="presParOf" srcId="{DB569130-0777-42AE-B5DD-5CB82CC224CC}" destId="{35A60791-5A19-47C0-B23C-0E75A3C7F91D}" srcOrd="6" destOrd="0" presId="urn:microsoft.com/office/officeart/2005/8/layout/default"/>
    <dgm:cxn modelId="{0420E25F-52A0-473E-85A7-FD51481B16FF}" type="presParOf" srcId="{DB569130-0777-42AE-B5DD-5CB82CC224CC}" destId="{44D097C9-B60F-462D-A9D0-FB3DC8F6445B}" srcOrd="7" destOrd="0" presId="urn:microsoft.com/office/officeart/2005/8/layout/default"/>
    <dgm:cxn modelId="{9100FD42-781E-4066-B5A6-E452ED556D13}" type="presParOf" srcId="{DB569130-0777-42AE-B5DD-5CB82CC224CC}" destId="{0745DFD2-5052-4AE6-802E-898517761DE0}" srcOrd="8" destOrd="0" presId="urn:microsoft.com/office/officeart/2005/8/layout/default"/>
    <dgm:cxn modelId="{580F62FF-6696-4289-BA40-237E63FC932E}" type="presParOf" srcId="{DB569130-0777-42AE-B5DD-5CB82CC224CC}" destId="{33689FDE-7147-4878-A9C7-EAF362938337}" srcOrd="9" destOrd="0" presId="urn:microsoft.com/office/officeart/2005/8/layout/default"/>
    <dgm:cxn modelId="{CFE7C1F7-DED8-4C0F-96D0-8C79D5DDF26C}" type="presParOf" srcId="{DB569130-0777-42AE-B5DD-5CB82CC224CC}" destId="{13F47D82-FE68-444A-B869-637A637ED5C0}" srcOrd="10" destOrd="0" presId="urn:microsoft.com/office/officeart/2005/8/layout/default"/>
    <dgm:cxn modelId="{9DDC0A4D-D40A-4427-9F5B-E8EEA0B8C3DD}" type="presParOf" srcId="{DB569130-0777-42AE-B5DD-5CB82CC224CC}" destId="{3BC24666-A737-4917-9306-16141DF596BA}" srcOrd="11" destOrd="0" presId="urn:microsoft.com/office/officeart/2005/8/layout/default"/>
    <dgm:cxn modelId="{59F6E15A-60C9-42D0-8418-229FCF127749}" type="presParOf" srcId="{DB569130-0777-42AE-B5DD-5CB82CC224CC}" destId="{51DE9ACD-1F4C-42D6-A16D-D1384A927CBE}" srcOrd="12" destOrd="0" presId="urn:microsoft.com/office/officeart/2005/8/layout/default"/>
    <dgm:cxn modelId="{89D9119E-4F71-40BB-BC12-656040F5107E}" type="presParOf" srcId="{DB569130-0777-42AE-B5DD-5CB82CC224CC}" destId="{982E1EA1-4E0F-4A8A-8FD4-1E8FE833FE10}" srcOrd="13" destOrd="0" presId="urn:microsoft.com/office/officeart/2005/8/layout/default"/>
    <dgm:cxn modelId="{912C7B4F-31D4-4868-91D2-D22B9DEC2772}" type="presParOf" srcId="{DB569130-0777-42AE-B5DD-5CB82CC224CC}" destId="{D88967C2-A8A8-41F9-8369-AB4E252DAB0F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3F5ED8C7-3AD4-4901-95F1-8EE7903264F0}" type="doc">
      <dgm:prSet loTypeId="urn:microsoft.com/office/officeart/2005/8/layout/list1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C6BEC30F-34E8-4A85-94C8-52336DA0694A}">
      <dgm:prSet/>
      <dgm:spPr/>
      <dgm:t>
        <a:bodyPr/>
        <a:lstStyle/>
        <a:p>
          <a:r>
            <a:rPr lang="nb-NO" dirty="0"/>
            <a:t>Varsle om </a:t>
          </a:r>
          <a:r>
            <a:rPr lang="nb-NO" dirty="0" err="1"/>
            <a:t>læringsmilj</a:t>
          </a:r>
          <a:r>
            <a:rPr lang="en-GB" dirty="0"/>
            <a:t>ø:</a:t>
          </a:r>
          <a:endParaRPr lang="en-US" dirty="0"/>
        </a:p>
      </dgm:t>
    </dgm:pt>
    <dgm:pt modelId="{F25B5E95-6A6E-4E0C-9C88-0672F644243E}" type="parTrans" cxnId="{17703760-B171-43AC-A784-C3C199197F35}">
      <dgm:prSet/>
      <dgm:spPr/>
      <dgm:t>
        <a:bodyPr/>
        <a:lstStyle/>
        <a:p>
          <a:endParaRPr lang="en-US"/>
        </a:p>
      </dgm:t>
    </dgm:pt>
    <dgm:pt modelId="{6C8DF9CC-2B28-4B08-BD28-DFD8ECE45E9B}" type="sibTrans" cxnId="{17703760-B171-43AC-A784-C3C199197F35}">
      <dgm:prSet/>
      <dgm:spPr/>
      <dgm:t>
        <a:bodyPr/>
        <a:lstStyle/>
        <a:p>
          <a:endParaRPr lang="en-US"/>
        </a:p>
      </dgm:t>
    </dgm:pt>
    <dgm:pt modelId="{7FF0854B-64EA-4807-ACBF-6E48450FC1D6}">
      <dgm:prSet/>
      <dgm:spPr/>
      <dgm:t>
        <a:bodyPr/>
        <a:lstStyle/>
        <a:p>
          <a:r>
            <a:rPr lang="nb-NO" b="0" i="0" dirty="0"/>
            <a:t>Det du setter pris på og ønsker at UiO skal gjøre mer av.</a:t>
          </a:r>
          <a:endParaRPr lang="en-US" dirty="0"/>
        </a:p>
      </dgm:t>
    </dgm:pt>
    <dgm:pt modelId="{B8BA8D2F-D149-44A7-B84E-7887C0CFEE4E}" type="parTrans" cxnId="{A776EE0B-5D5B-40A4-A329-7609638B3488}">
      <dgm:prSet/>
      <dgm:spPr/>
      <dgm:t>
        <a:bodyPr/>
        <a:lstStyle/>
        <a:p>
          <a:endParaRPr lang="en-US"/>
        </a:p>
      </dgm:t>
    </dgm:pt>
    <dgm:pt modelId="{D5490B54-958F-48E9-BAAB-06F99E584486}" type="sibTrans" cxnId="{A776EE0B-5D5B-40A4-A329-7609638B3488}">
      <dgm:prSet/>
      <dgm:spPr/>
      <dgm:t>
        <a:bodyPr/>
        <a:lstStyle/>
        <a:p>
          <a:endParaRPr lang="en-US"/>
        </a:p>
      </dgm:t>
    </dgm:pt>
    <dgm:pt modelId="{CECCE678-EF89-4B3A-9701-E420E6B03F75}">
      <dgm:prSet/>
      <dgm:spPr/>
      <dgm:t>
        <a:bodyPr/>
        <a:lstStyle/>
        <a:p>
          <a:r>
            <a:rPr lang="nb-NO" b="0" i="0" dirty="0"/>
            <a:t>Dårlige sider ved det fysiske eller sosiale læringsmiljøet ditt.</a:t>
          </a:r>
          <a:endParaRPr lang="en-US" dirty="0"/>
        </a:p>
      </dgm:t>
    </dgm:pt>
    <dgm:pt modelId="{BFD8D2DE-072B-4398-86EA-50A3AED8FC14}" type="parTrans" cxnId="{E6195A8E-BA9D-4F8C-84CB-4B8FE5207AA4}">
      <dgm:prSet/>
      <dgm:spPr/>
      <dgm:t>
        <a:bodyPr/>
        <a:lstStyle/>
        <a:p>
          <a:endParaRPr lang="en-US"/>
        </a:p>
      </dgm:t>
    </dgm:pt>
    <dgm:pt modelId="{DF00DA0E-D348-4CFA-A1BD-6D9C4E931649}" type="sibTrans" cxnId="{E6195A8E-BA9D-4F8C-84CB-4B8FE5207AA4}">
      <dgm:prSet/>
      <dgm:spPr/>
      <dgm:t>
        <a:bodyPr/>
        <a:lstStyle/>
        <a:p>
          <a:endParaRPr lang="en-US"/>
        </a:p>
      </dgm:t>
    </dgm:pt>
    <dgm:pt modelId="{D041ACF4-C6E4-4985-B6AA-5344E7CA60F4}">
      <dgm:prSet/>
      <dgm:spPr/>
      <dgm:t>
        <a:bodyPr/>
        <a:lstStyle/>
        <a:p>
          <a:r>
            <a:rPr lang="nb-NO" b="0" i="0"/>
            <a:t>Skadelige, farlige, uetiske eller straffbare hendelser.</a:t>
          </a:r>
          <a:endParaRPr lang="en-US"/>
        </a:p>
      </dgm:t>
    </dgm:pt>
    <dgm:pt modelId="{1442269A-0DB3-4F7D-9B2E-FF1827A7C20C}" type="parTrans" cxnId="{B537566F-9A0A-4752-BEF3-3438B4618805}">
      <dgm:prSet/>
      <dgm:spPr/>
      <dgm:t>
        <a:bodyPr/>
        <a:lstStyle/>
        <a:p>
          <a:endParaRPr lang="en-US"/>
        </a:p>
      </dgm:t>
    </dgm:pt>
    <dgm:pt modelId="{B8C46D3C-F713-4F33-B8DE-46A1B59D73E8}" type="sibTrans" cxnId="{B537566F-9A0A-4752-BEF3-3438B4618805}">
      <dgm:prSet/>
      <dgm:spPr/>
      <dgm:t>
        <a:bodyPr/>
        <a:lstStyle/>
        <a:p>
          <a:endParaRPr lang="en-US"/>
        </a:p>
      </dgm:t>
    </dgm:pt>
    <dgm:pt modelId="{C0C05B46-08EC-457F-98E2-2D35575CE10A}">
      <dgm:prSet/>
      <dgm:spPr/>
      <dgm:t>
        <a:bodyPr/>
        <a:lstStyle/>
        <a:p>
          <a:r>
            <a:rPr lang="nb-NO" b="0" i="0" dirty="0">
              <a:hlinkClick xmlns:r="http://schemas.openxmlformats.org/officeDocument/2006/relationships" r:id="rId1"/>
            </a:rPr>
            <a:t>Mobbing eller seksuell trakassering.</a:t>
          </a:r>
          <a:r>
            <a:rPr lang="nb-NO" b="0" i="0" dirty="0"/>
            <a:t> </a:t>
          </a:r>
          <a:endParaRPr lang="en-US" dirty="0"/>
        </a:p>
      </dgm:t>
    </dgm:pt>
    <dgm:pt modelId="{35763067-D804-4C7B-A6DE-34BA48F9C73D}" type="parTrans" cxnId="{538E9B40-5DFC-4ECC-9EF4-A3CE31054433}">
      <dgm:prSet/>
      <dgm:spPr/>
      <dgm:t>
        <a:bodyPr/>
        <a:lstStyle/>
        <a:p>
          <a:endParaRPr lang="en-US"/>
        </a:p>
      </dgm:t>
    </dgm:pt>
    <dgm:pt modelId="{B0DDCD90-4F92-468D-A024-72B19FBF664D}" type="sibTrans" cxnId="{538E9B40-5DFC-4ECC-9EF4-A3CE31054433}">
      <dgm:prSet/>
      <dgm:spPr/>
      <dgm:t>
        <a:bodyPr/>
        <a:lstStyle/>
        <a:p>
          <a:endParaRPr lang="en-US"/>
        </a:p>
      </dgm:t>
    </dgm:pt>
    <dgm:pt modelId="{CB4240BE-8C44-4A1C-A004-86835D70FC15}" type="pres">
      <dgm:prSet presAssocID="{3F5ED8C7-3AD4-4901-95F1-8EE7903264F0}" presName="linear" presStyleCnt="0">
        <dgm:presLayoutVars>
          <dgm:dir/>
          <dgm:animLvl val="lvl"/>
          <dgm:resizeHandles val="exact"/>
        </dgm:presLayoutVars>
      </dgm:prSet>
      <dgm:spPr/>
    </dgm:pt>
    <dgm:pt modelId="{0D25F80C-6336-418A-86FA-554AD1DA866E}" type="pres">
      <dgm:prSet presAssocID="{C6BEC30F-34E8-4A85-94C8-52336DA0694A}" presName="parentLin" presStyleCnt="0"/>
      <dgm:spPr/>
    </dgm:pt>
    <dgm:pt modelId="{926CFF0B-3273-45F6-AF9E-864030C982DA}" type="pres">
      <dgm:prSet presAssocID="{C6BEC30F-34E8-4A85-94C8-52336DA0694A}" presName="parentLeftMargin" presStyleLbl="node1" presStyleIdx="0" presStyleCnt="1"/>
      <dgm:spPr/>
    </dgm:pt>
    <dgm:pt modelId="{846D5640-8CB7-45A1-93BF-524790A68772}" type="pres">
      <dgm:prSet presAssocID="{C6BEC30F-34E8-4A85-94C8-52336DA0694A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07E9169F-0CD5-4A13-9953-B83FA715E252}" type="pres">
      <dgm:prSet presAssocID="{C6BEC30F-34E8-4A85-94C8-52336DA0694A}" presName="negativeSpace" presStyleCnt="0"/>
      <dgm:spPr/>
    </dgm:pt>
    <dgm:pt modelId="{AD5BC28E-57E1-4B7E-A154-4C31C5A326A3}" type="pres">
      <dgm:prSet presAssocID="{C6BEC30F-34E8-4A85-94C8-52336DA0694A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A776EE0B-5D5B-40A4-A329-7609638B3488}" srcId="{C6BEC30F-34E8-4A85-94C8-52336DA0694A}" destId="{7FF0854B-64EA-4807-ACBF-6E48450FC1D6}" srcOrd="0" destOrd="0" parTransId="{B8BA8D2F-D149-44A7-B84E-7887C0CFEE4E}" sibTransId="{D5490B54-958F-48E9-BAAB-06F99E584486}"/>
    <dgm:cxn modelId="{FFFFB32A-F078-430D-822E-9070D45203BC}" type="presOf" srcId="{CECCE678-EF89-4B3A-9701-E420E6B03F75}" destId="{AD5BC28E-57E1-4B7E-A154-4C31C5A326A3}" srcOrd="0" destOrd="1" presId="urn:microsoft.com/office/officeart/2005/8/layout/list1"/>
    <dgm:cxn modelId="{538E9B40-5DFC-4ECC-9EF4-A3CE31054433}" srcId="{C6BEC30F-34E8-4A85-94C8-52336DA0694A}" destId="{C0C05B46-08EC-457F-98E2-2D35575CE10A}" srcOrd="3" destOrd="0" parTransId="{35763067-D804-4C7B-A6DE-34BA48F9C73D}" sibTransId="{B0DDCD90-4F92-468D-A024-72B19FBF664D}"/>
    <dgm:cxn modelId="{17703760-B171-43AC-A784-C3C199197F35}" srcId="{3F5ED8C7-3AD4-4901-95F1-8EE7903264F0}" destId="{C6BEC30F-34E8-4A85-94C8-52336DA0694A}" srcOrd="0" destOrd="0" parTransId="{F25B5E95-6A6E-4E0C-9C88-0672F644243E}" sibTransId="{6C8DF9CC-2B28-4B08-BD28-DFD8ECE45E9B}"/>
    <dgm:cxn modelId="{40B4B764-6057-4D8C-8433-CCB6A98EF382}" type="presOf" srcId="{3F5ED8C7-3AD4-4901-95F1-8EE7903264F0}" destId="{CB4240BE-8C44-4A1C-A004-86835D70FC15}" srcOrd="0" destOrd="0" presId="urn:microsoft.com/office/officeart/2005/8/layout/list1"/>
    <dgm:cxn modelId="{7520534A-9264-48D4-8939-FD2A71BA02B0}" type="presOf" srcId="{C0C05B46-08EC-457F-98E2-2D35575CE10A}" destId="{AD5BC28E-57E1-4B7E-A154-4C31C5A326A3}" srcOrd="0" destOrd="3" presId="urn:microsoft.com/office/officeart/2005/8/layout/list1"/>
    <dgm:cxn modelId="{B537566F-9A0A-4752-BEF3-3438B4618805}" srcId="{C6BEC30F-34E8-4A85-94C8-52336DA0694A}" destId="{D041ACF4-C6E4-4985-B6AA-5344E7CA60F4}" srcOrd="2" destOrd="0" parTransId="{1442269A-0DB3-4F7D-9B2E-FF1827A7C20C}" sibTransId="{B8C46D3C-F713-4F33-B8DE-46A1B59D73E8}"/>
    <dgm:cxn modelId="{9F0E2970-8BDC-48FB-B3F0-26C0E09FDE5B}" type="presOf" srcId="{C6BEC30F-34E8-4A85-94C8-52336DA0694A}" destId="{846D5640-8CB7-45A1-93BF-524790A68772}" srcOrd="1" destOrd="0" presId="urn:microsoft.com/office/officeart/2005/8/layout/list1"/>
    <dgm:cxn modelId="{CF4D0A87-8178-473E-A5A5-EE07607A8045}" type="presOf" srcId="{D041ACF4-C6E4-4985-B6AA-5344E7CA60F4}" destId="{AD5BC28E-57E1-4B7E-A154-4C31C5A326A3}" srcOrd="0" destOrd="2" presId="urn:microsoft.com/office/officeart/2005/8/layout/list1"/>
    <dgm:cxn modelId="{E6195A8E-BA9D-4F8C-84CB-4B8FE5207AA4}" srcId="{C6BEC30F-34E8-4A85-94C8-52336DA0694A}" destId="{CECCE678-EF89-4B3A-9701-E420E6B03F75}" srcOrd="1" destOrd="0" parTransId="{BFD8D2DE-072B-4398-86EA-50A3AED8FC14}" sibTransId="{DF00DA0E-D348-4CFA-A1BD-6D9C4E931649}"/>
    <dgm:cxn modelId="{1D8717A3-7F9B-4F10-99D8-811CBFF585BF}" type="presOf" srcId="{C6BEC30F-34E8-4A85-94C8-52336DA0694A}" destId="{926CFF0B-3273-45F6-AF9E-864030C982DA}" srcOrd="0" destOrd="0" presId="urn:microsoft.com/office/officeart/2005/8/layout/list1"/>
    <dgm:cxn modelId="{E863C7C2-8640-4006-9E7C-FD1AB4E02FB2}" type="presOf" srcId="{7FF0854B-64EA-4807-ACBF-6E48450FC1D6}" destId="{AD5BC28E-57E1-4B7E-A154-4C31C5A326A3}" srcOrd="0" destOrd="0" presId="urn:microsoft.com/office/officeart/2005/8/layout/list1"/>
    <dgm:cxn modelId="{36E5FAEE-154D-4405-B190-5A6D69A90D26}" type="presParOf" srcId="{CB4240BE-8C44-4A1C-A004-86835D70FC15}" destId="{0D25F80C-6336-418A-86FA-554AD1DA866E}" srcOrd="0" destOrd="0" presId="urn:microsoft.com/office/officeart/2005/8/layout/list1"/>
    <dgm:cxn modelId="{666EC09F-F31A-4CB0-B441-EF7A04BB191B}" type="presParOf" srcId="{0D25F80C-6336-418A-86FA-554AD1DA866E}" destId="{926CFF0B-3273-45F6-AF9E-864030C982DA}" srcOrd="0" destOrd="0" presId="urn:microsoft.com/office/officeart/2005/8/layout/list1"/>
    <dgm:cxn modelId="{96891DDD-3169-44A6-9DE1-BDB95D49C9B5}" type="presParOf" srcId="{0D25F80C-6336-418A-86FA-554AD1DA866E}" destId="{846D5640-8CB7-45A1-93BF-524790A68772}" srcOrd="1" destOrd="0" presId="urn:microsoft.com/office/officeart/2005/8/layout/list1"/>
    <dgm:cxn modelId="{CA5414D5-C697-43FB-9831-7F1323EC2424}" type="presParOf" srcId="{CB4240BE-8C44-4A1C-A004-86835D70FC15}" destId="{07E9169F-0CD5-4A13-9953-B83FA715E252}" srcOrd="1" destOrd="0" presId="urn:microsoft.com/office/officeart/2005/8/layout/list1"/>
    <dgm:cxn modelId="{2918EDC1-FD39-4950-BE2F-064455601B50}" type="presParOf" srcId="{CB4240BE-8C44-4A1C-A004-86835D70FC15}" destId="{AD5BC28E-57E1-4B7E-A154-4C31C5A326A3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81660DE-A1BA-44B8-A73D-23C065393056}" type="doc">
      <dgm:prSet loTypeId="urn:microsoft.com/office/officeart/2005/8/layout/vList2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65C54E2-0137-428E-90D7-33EDAB44A0BA}">
      <dgm:prSet/>
      <dgm:spPr/>
      <dgm:t>
        <a:bodyPr/>
        <a:lstStyle/>
        <a:p>
          <a:r>
            <a:rPr lang="nn-NO"/>
            <a:t>Torsdag 17. august  kl. 23.59: </a:t>
          </a:r>
          <a:endParaRPr lang="en-US"/>
        </a:p>
      </dgm:t>
    </dgm:pt>
    <dgm:pt modelId="{C0073FD8-57B2-4607-8E04-57C1615D6830}" type="parTrans" cxnId="{48FE2B47-84DB-4852-B2F2-FB1123B809EA}">
      <dgm:prSet/>
      <dgm:spPr/>
      <dgm:t>
        <a:bodyPr/>
        <a:lstStyle/>
        <a:p>
          <a:endParaRPr lang="en-US"/>
        </a:p>
      </dgm:t>
    </dgm:pt>
    <dgm:pt modelId="{27D2F6D5-4D86-4163-BB1A-6FEEC19947E9}" type="sibTrans" cxnId="{48FE2B47-84DB-4852-B2F2-FB1123B809EA}">
      <dgm:prSet/>
      <dgm:spPr/>
      <dgm:t>
        <a:bodyPr/>
        <a:lstStyle/>
        <a:p>
          <a:endParaRPr lang="en-US"/>
        </a:p>
      </dgm:t>
    </dgm:pt>
    <dgm:pt modelId="{A2C33852-E725-4066-8346-AF89F24B25E3}">
      <dgm:prSet/>
      <dgm:spPr/>
      <dgm:t>
        <a:bodyPr/>
        <a:lstStyle/>
        <a:p>
          <a:r>
            <a:rPr lang="nn-NO"/>
            <a:t>Frist for emnepåmelding i Studentweb. Svar blir publisert senest mandag 22. august i Studentweb. </a:t>
          </a:r>
          <a:endParaRPr lang="en-US"/>
        </a:p>
      </dgm:t>
    </dgm:pt>
    <dgm:pt modelId="{B937236B-7925-4044-8179-871B7B059094}" type="parTrans" cxnId="{7AB61B96-A8EA-4036-9236-EC93E211743D}">
      <dgm:prSet/>
      <dgm:spPr/>
      <dgm:t>
        <a:bodyPr/>
        <a:lstStyle/>
        <a:p>
          <a:endParaRPr lang="en-US"/>
        </a:p>
      </dgm:t>
    </dgm:pt>
    <dgm:pt modelId="{1099BD9E-D13F-4B36-9AEC-F68537FEC27A}" type="sibTrans" cxnId="{7AB61B96-A8EA-4036-9236-EC93E211743D}">
      <dgm:prSet/>
      <dgm:spPr/>
      <dgm:t>
        <a:bodyPr/>
        <a:lstStyle/>
        <a:p>
          <a:endParaRPr lang="en-US"/>
        </a:p>
      </dgm:t>
    </dgm:pt>
    <dgm:pt modelId="{3F337530-23B7-40A6-A47D-4002DD7E7C67}">
      <dgm:prSet/>
      <dgm:spPr/>
      <dgm:t>
        <a:bodyPr/>
        <a:lstStyle/>
        <a:p>
          <a:r>
            <a:rPr lang="nn-NO" dirty="0" err="1"/>
            <a:t>Tirsdag</a:t>
          </a:r>
          <a:r>
            <a:rPr lang="nn-NO" dirty="0"/>
            <a:t> 22. august </a:t>
          </a:r>
          <a:r>
            <a:rPr lang="nn-NO" dirty="0" err="1"/>
            <a:t>kl</a:t>
          </a:r>
          <a:r>
            <a:rPr lang="nn-NO" dirty="0"/>
            <a:t> 09:00:</a:t>
          </a:r>
          <a:endParaRPr lang="en-US" dirty="0"/>
        </a:p>
      </dgm:t>
    </dgm:pt>
    <dgm:pt modelId="{0F34F7C4-67B0-4E81-80F2-49E74F8C4140}" type="parTrans" cxnId="{1EB0E9E0-F8F0-4762-BE11-2DDE6769B9C2}">
      <dgm:prSet/>
      <dgm:spPr/>
      <dgm:t>
        <a:bodyPr/>
        <a:lstStyle/>
        <a:p>
          <a:endParaRPr lang="en-US"/>
        </a:p>
      </dgm:t>
    </dgm:pt>
    <dgm:pt modelId="{4942D4A3-9035-47E0-BD50-DAB35ED96723}" type="sibTrans" cxnId="{1EB0E9E0-F8F0-4762-BE11-2DDE6769B9C2}">
      <dgm:prSet/>
      <dgm:spPr/>
      <dgm:t>
        <a:bodyPr/>
        <a:lstStyle/>
        <a:p>
          <a:endParaRPr lang="en-US"/>
        </a:p>
      </dgm:t>
    </dgm:pt>
    <dgm:pt modelId="{96EB2B59-BA52-4F3C-BD90-742088494F8A}">
      <dgm:prSet/>
      <dgm:spPr/>
      <dgm:t>
        <a:bodyPr/>
        <a:lstStyle/>
        <a:p>
          <a:r>
            <a:rPr lang="nn-NO" dirty="0"/>
            <a:t>Påmelding til </a:t>
          </a:r>
          <a:r>
            <a:rPr lang="nn-NO" dirty="0" err="1"/>
            <a:t>emner</a:t>
          </a:r>
          <a:r>
            <a:rPr lang="nn-NO" dirty="0"/>
            <a:t> med ledig kapasitet. «Førstemann til mølla» og svar med en gang.</a:t>
          </a:r>
          <a:endParaRPr lang="en-US" dirty="0"/>
        </a:p>
      </dgm:t>
    </dgm:pt>
    <dgm:pt modelId="{CA848C46-F7F3-4AB0-B136-B440CE3E2B05}" type="parTrans" cxnId="{84924EFF-1B8C-4155-8636-CFB72FA60FAF}">
      <dgm:prSet/>
      <dgm:spPr/>
      <dgm:t>
        <a:bodyPr/>
        <a:lstStyle/>
        <a:p>
          <a:endParaRPr lang="en-US"/>
        </a:p>
      </dgm:t>
    </dgm:pt>
    <dgm:pt modelId="{1EC5178F-41D5-4E5E-838E-3DA45D889FB6}" type="sibTrans" cxnId="{84924EFF-1B8C-4155-8636-CFB72FA60FAF}">
      <dgm:prSet/>
      <dgm:spPr/>
      <dgm:t>
        <a:bodyPr/>
        <a:lstStyle/>
        <a:p>
          <a:endParaRPr lang="en-US"/>
        </a:p>
      </dgm:t>
    </dgm:pt>
    <dgm:pt modelId="{CD1688D4-91E9-4998-8106-14C09287E3C3}">
      <dgm:prSet/>
      <dgm:spPr/>
      <dgm:t>
        <a:bodyPr/>
        <a:lstStyle/>
        <a:p>
          <a:r>
            <a:rPr lang="nn-NO" dirty="0" err="1"/>
            <a:t>Fra</a:t>
          </a:r>
          <a:r>
            <a:rPr lang="nn-NO" dirty="0"/>
            <a:t> og med </a:t>
          </a:r>
          <a:r>
            <a:rPr lang="nn-NO" dirty="0" err="1"/>
            <a:t>mandag</a:t>
          </a:r>
          <a:r>
            <a:rPr lang="nn-NO" dirty="0"/>
            <a:t> 21. august (uke 34):</a:t>
          </a:r>
          <a:endParaRPr lang="en-US" dirty="0"/>
        </a:p>
      </dgm:t>
    </dgm:pt>
    <dgm:pt modelId="{EB15B53E-62A0-4C41-A58A-682AFF38E7AC}" type="parTrans" cxnId="{9F4B783F-D082-4EB4-8245-CC9987311272}">
      <dgm:prSet/>
      <dgm:spPr/>
      <dgm:t>
        <a:bodyPr/>
        <a:lstStyle/>
        <a:p>
          <a:endParaRPr lang="en-US"/>
        </a:p>
      </dgm:t>
    </dgm:pt>
    <dgm:pt modelId="{0362F5FE-5267-42F7-A00B-2776A8550D2F}" type="sibTrans" cxnId="{9F4B783F-D082-4EB4-8245-CC9987311272}">
      <dgm:prSet/>
      <dgm:spPr/>
      <dgm:t>
        <a:bodyPr/>
        <a:lstStyle/>
        <a:p>
          <a:endParaRPr lang="en-US"/>
        </a:p>
      </dgm:t>
    </dgm:pt>
    <dgm:pt modelId="{96B399AA-CFF1-4240-A3F0-CC7012E04244}">
      <dgm:prSet/>
      <dgm:spPr/>
      <dgm:t>
        <a:bodyPr/>
        <a:lstStyle/>
        <a:p>
          <a:r>
            <a:rPr lang="nn-NO" dirty="0"/>
            <a:t>Undervisningsstart.</a:t>
          </a:r>
          <a:endParaRPr lang="en-US" dirty="0"/>
        </a:p>
      </dgm:t>
    </dgm:pt>
    <dgm:pt modelId="{9B69A7E1-1834-49D0-BA51-D78C6F9BA8D8}" type="parTrans" cxnId="{287E77B0-05BB-4969-AE4A-63496794AB39}">
      <dgm:prSet/>
      <dgm:spPr/>
      <dgm:t>
        <a:bodyPr/>
        <a:lstStyle/>
        <a:p>
          <a:endParaRPr lang="en-US"/>
        </a:p>
      </dgm:t>
    </dgm:pt>
    <dgm:pt modelId="{C5515100-0995-4C41-8702-227B54EFBF5D}" type="sibTrans" cxnId="{287E77B0-05BB-4969-AE4A-63496794AB39}">
      <dgm:prSet/>
      <dgm:spPr/>
      <dgm:t>
        <a:bodyPr/>
        <a:lstStyle/>
        <a:p>
          <a:endParaRPr lang="en-US"/>
        </a:p>
      </dgm:t>
    </dgm:pt>
    <dgm:pt modelId="{408C5693-F5BB-4EA7-A23B-2BA4673770BE}">
      <dgm:prSet/>
      <dgm:spPr/>
      <dgm:t>
        <a:bodyPr/>
        <a:lstStyle/>
        <a:p>
          <a:r>
            <a:rPr lang="en-US" dirty="0" err="1"/>
            <a:t>Fredag</a:t>
          </a:r>
          <a:r>
            <a:rPr lang="en-US" dirty="0"/>
            <a:t> 1. September er first for </a:t>
          </a:r>
          <a:r>
            <a:rPr lang="en-US" dirty="0" err="1"/>
            <a:t>følgende</a:t>
          </a:r>
          <a:r>
            <a:rPr lang="en-US" dirty="0"/>
            <a:t>:</a:t>
          </a:r>
          <a:r>
            <a:rPr lang="nn-NO" dirty="0"/>
            <a:t> </a:t>
          </a:r>
          <a:endParaRPr lang="en-US" dirty="0"/>
        </a:p>
      </dgm:t>
    </dgm:pt>
    <dgm:pt modelId="{E1BAD66A-580F-414F-923A-C7E5879A915C}" type="parTrans" cxnId="{4F5F03C9-352D-4405-A24B-F354469BC9B1}">
      <dgm:prSet/>
      <dgm:spPr/>
      <dgm:t>
        <a:bodyPr/>
        <a:lstStyle/>
        <a:p>
          <a:endParaRPr lang="en-US"/>
        </a:p>
      </dgm:t>
    </dgm:pt>
    <dgm:pt modelId="{253D6953-4E63-4E57-B883-693C2ADA4BA1}" type="sibTrans" cxnId="{4F5F03C9-352D-4405-A24B-F354469BC9B1}">
      <dgm:prSet/>
      <dgm:spPr/>
      <dgm:t>
        <a:bodyPr/>
        <a:lstStyle/>
        <a:p>
          <a:endParaRPr lang="en-US"/>
        </a:p>
      </dgm:t>
    </dgm:pt>
    <dgm:pt modelId="{0F8F0187-56E8-4EE9-A796-EC48976BED55}">
      <dgm:prSet/>
      <dgm:spPr/>
      <dgm:t>
        <a:bodyPr/>
        <a:lstStyle/>
        <a:p>
          <a:r>
            <a:rPr lang="nb-NO" dirty="0"/>
            <a:t>å betale semesteravgift</a:t>
          </a:r>
          <a:endParaRPr lang="en-US" dirty="0"/>
        </a:p>
      </dgm:t>
    </dgm:pt>
    <dgm:pt modelId="{0EDDA7C9-F688-4CC8-9920-C1EAB0F08CF4}" type="parTrans" cxnId="{1A07AC28-A9B1-4499-8D0C-D733FEF30967}">
      <dgm:prSet/>
      <dgm:spPr/>
      <dgm:t>
        <a:bodyPr/>
        <a:lstStyle/>
        <a:p>
          <a:endParaRPr lang="en-US"/>
        </a:p>
      </dgm:t>
    </dgm:pt>
    <dgm:pt modelId="{E2A01A7A-1D3D-4171-BFF8-F4E3F4BE606B}" type="sibTrans" cxnId="{1A07AC28-A9B1-4499-8D0C-D733FEF30967}">
      <dgm:prSet/>
      <dgm:spPr/>
      <dgm:t>
        <a:bodyPr/>
        <a:lstStyle/>
        <a:p>
          <a:endParaRPr lang="en-US"/>
        </a:p>
      </dgm:t>
    </dgm:pt>
    <dgm:pt modelId="{BDDED311-7C36-42B6-A688-83C6669A5907}">
      <dgm:prSet/>
      <dgm:spPr/>
      <dgm:t>
        <a:bodyPr/>
        <a:lstStyle/>
        <a:p>
          <a:r>
            <a:rPr lang="nn-NO" dirty="0"/>
            <a:t>registrering i Studentweb</a:t>
          </a:r>
          <a:endParaRPr lang="en-US" dirty="0"/>
        </a:p>
      </dgm:t>
    </dgm:pt>
    <dgm:pt modelId="{5B8E04E7-4611-4AEA-BA9D-F867F1270694}" type="parTrans" cxnId="{5D388C87-EE12-493E-908D-8F33335C6581}">
      <dgm:prSet/>
      <dgm:spPr/>
      <dgm:t>
        <a:bodyPr/>
        <a:lstStyle/>
        <a:p>
          <a:endParaRPr lang="en-US"/>
        </a:p>
      </dgm:t>
    </dgm:pt>
    <dgm:pt modelId="{8ABE6A41-D58E-449C-8481-7D78A9F35FA3}" type="sibTrans" cxnId="{5D388C87-EE12-493E-908D-8F33335C6581}">
      <dgm:prSet/>
      <dgm:spPr/>
      <dgm:t>
        <a:bodyPr/>
        <a:lstStyle/>
        <a:p>
          <a:endParaRPr lang="en-US"/>
        </a:p>
      </dgm:t>
    </dgm:pt>
    <dgm:pt modelId="{2996AC6B-DA91-44A6-B505-EDECFE7B8C01}">
      <dgm:prSet/>
      <dgm:spPr/>
      <dgm:t>
        <a:bodyPr/>
        <a:lstStyle/>
        <a:p>
          <a:r>
            <a:rPr lang="nn-NO" dirty="0"/>
            <a:t>lagre </a:t>
          </a:r>
          <a:r>
            <a:rPr lang="nn-NO" dirty="0" err="1"/>
            <a:t>utdanningplanen</a:t>
          </a:r>
          <a:endParaRPr lang="en-US" dirty="0"/>
        </a:p>
      </dgm:t>
    </dgm:pt>
    <dgm:pt modelId="{396F0D41-A8F7-4624-B8CB-8FECA1E23049}" type="parTrans" cxnId="{C1F4C69B-5445-4189-BD2E-0ACF24407E72}">
      <dgm:prSet/>
      <dgm:spPr/>
      <dgm:t>
        <a:bodyPr/>
        <a:lstStyle/>
        <a:p>
          <a:endParaRPr lang="en-US"/>
        </a:p>
      </dgm:t>
    </dgm:pt>
    <dgm:pt modelId="{513C4A9C-384B-4851-9EA0-DDD73D5E7069}" type="sibTrans" cxnId="{C1F4C69B-5445-4189-BD2E-0ACF24407E72}">
      <dgm:prSet/>
      <dgm:spPr/>
      <dgm:t>
        <a:bodyPr/>
        <a:lstStyle/>
        <a:p>
          <a:endParaRPr lang="en-US"/>
        </a:p>
      </dgm:t>
    </dgm:pt>
    <dgm:pt modelId="{3988371C-6652-423A-8AE6-58F9186CC070}">
      <dgm:prSet/>
      <dgm:spPr/>
      <dgm:t>
        <a:bodyPr/>
        <a:lstStyle/>
        <a:p>
          <a:r>
            <a:rPr lang="nn-NO" dirty="0"/>
            <a:t>undervisnings- og eksamensmelding</a:t>
          </a:r>
          <a:endParaRPr lang="en-US" dirty="0"/>
        </a:p>
      </dgm:t>
    </dgm:pt>
    <dgm:pt modelId="{3AE62B66-8885-4F25-B056-DA5BB66C67BE}" type="parTrans" cxnId="{936E140F-BB5E-47CD-91A4-86742CEC9391}">
      <dgm:prSet/>
      <dgm:spPr/>
      <dgm:t>
        <a:bodyPr/>
        <a:lstStyle/>
        <a:p>
          <a:endParaRPr lang="en-US"/>
        </a:p>
      </dgm:t>
    </dgm:pt>
    <dgm:pt modelId="{8B74D36E-8B71-40EC-8029-CCB1EB7C2501}" type="sibTrans" cxnId="{936E140F-BB5E-47CD-91A4-86742CEC9391}">
      <dgm:prSet/>
      <dgm:spPr/>
      <dgm:t>
        <a:bodyPr/>
        <a:lstStyle/>
        <a:p>
          <a:endParaRPr lang="en-US"/>
        </a:p>
      </dgm:t>
    </dgm:pt>
    <dgm:pt modelId="{9EF0D310-634E-4CF8-BD9C-6F3A835125BC}">
      <dgm:prSet/>
      <dgm:spPr/>
      <dgm:t>
        <a:bodyPr/>
        <a:lstStyle/>
        <a:p>
          <a:r>
            <a:rPr lang="nn-NO" dirty="0"/>
            <a:t>å søke om tilrettelagt eksamen</a:t>
          </a:r>
          <a:endParaRPr lang="en-US" dirty="0"/>
        </a:p>
      </dgm:t>
    </dgm:pt>
    <dgm:pt modelId="{13310083-A278-4B82-93B5-049E7DBF3FBD}" type="parTrans" cxnId="{834B321B-105C-4E69-90A0-B55AFD6C949B}">
      <dgm:prSet/>
      <dgm:spPr/>
      <dgm:t>
        <a:bodyPr/>
        <a:lstStyle/>
        <a:p>
          <a:endParaRPr lang="en-US"/>
        </a:p>
      </dgm:t>
    </dgm:pt>
    <dgm:pt modelId="{25BCD406-D405-4CF2-B64B-8D2A3C8C1FAE}" type="sibTrans" cxnId="{834B321B-105C-4E69-90A0-B55AFD6C949B}">
      <dgm:prSet/>
      <dgm:spPr/>
      <dgm:t>
        <a:bodyPr/>
        <a:lstStyle/>
        <a:p>
          <a:endParaRPr lang="en-US"/>
        </a:p>
      </dgm:t>
    </dgm:pt>
    <dgm:pt modelId="{999AC1ED-EA44-4BB6-BA86-D8EEB59A55CB}">
      <dgm:prSet/>
      <dgm:spPr/>
      <dgm:t>
        <a:bodyPr/>
        <a:lstStyle/>
        <a:p>
          <a:r>
            <a:rPr lang="nn-NO" dirty="0"/>
            <a:t>å søke om </a:t>
          </a:r>
          <a:r>
            <a:rPr lang="nn-NO" dirty="0" err="1"/>
            <a:t>utsatt</a:t>
          </a:r>
          <a:r>
            <a:rPr lang="nn-NO" dirty="0"/>
            <a:t> studiestart, permisjon og redusert studieprogresjon: </a:t>
          </a:r>
          <a:r>
            <a:rPr lang="nn-NO" dirty="0">
              <a:hlinkClick xmlns:r="http://schemas.openxmlformats.org/officeDocument/2006/relationships" r:id="rId1"/>
            </a:rPr>
            <a:t>Permisjon frå studieprogram - Universitetet i Oslo (uio.no)</a:t>
          </a:r>
          <a:r>
            <a:rPr lang="nn-NO" dirty="0"/>
            <a:t> </a:t>
          </a:r>
          <a:endParaRPr lang="en-US" dirty="0"/>
        </a:p>
      </dgm:t>
    </dgm:pt>
    <dgm:pt modelId="{E5C60201-8318-4BC3-8174-6BC07A980CF4}" type="parTrans" cxnId="{FCF4E0C5-78CA-49E2-BA54-84219854FA71}">
      <dgm:prSet/>
      <dgm:spPr/>
      <dgm:t>
        <a:bodyPr/>
        <a:lstStyle/>
        <a:p>
          <a:endParaRPr lang="en-US"/>
        </a:p>
      </dgm:t>
    </dgm:pt>
    <dgm:pt modelId="{F12465EF-C5E7-44B4-BD72-1036880A1CCB}" type="sibTrans" cxnId="{FCF4E0C5-78CA-49E2-BA54-84219854FA71}">
      <dgm:prSet/>
      <dgm:spPr/>
      <dgm:t>
        <a:bodyPr/>
        <a:lstStyle/>
        <a:p>
          <a:endParaRPr lang="en-US"/>
        </a:p>
      </dgm:t>
    </dgm:pt>
    <dgm:pt modelId="{946A77EF-B463-42F8-B334-94A47F522303}" type="pres">
      <dgm:prSet presAssocID="{A81660DE-A1BA-44B8-A73D-23C065393056}" presName="linear" presStyleCnt="0">
        <dgm:presLayoutVars>
          <dgm:animLvl val="lvl"/>
          <dgm:resizeHandles val="exact"/>
        </dgm:presLayoutVars>
      </dgm:prSet>
      <dgm:spPr/>
    </dgm:pt>
    <dgm:pt modelId="{E83E389E-9F27-428E-9A2C-7697AB0F4410}" type="pres">
      <dgm:prSet presAssocID="{A65C54E2-0137-428E-90D7-33EDAB44A0BA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FA93B22A-5B26-4F4C-B090-DE95A9CEBF4A}" type="pres">
      <dgm:prSet presAssocID="{A65C54E2-0137-428E-90D7-33EDAB44A0BA}" presName="childText" presStyleLbl="revTx" presStyleIdx="0" presStyleCnt="4">
        <dgm:presLayoutVars>
          <dgm:bulletEnabled val="1"/>
        </dgm:presLayoutVars>
      </dgm:prSet>
      <dgm:spPr/>
    </dgm:pt>
    <dgm:pt modelId="{F72876AE-6B4F-4ADF-8B17-F7B8DB3F08F4}" type="pres">
      <dgm:prSet presAssocID="{3F337530-23B7-40A6-A47D-4002DD7E7C67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8BCE02CB-254E-4C57-A407-DDF121B34B22}" type="pres">
      <dgm:prSet presAssocID="{3F337530-23B7-40A6-A47D-4002DD7E7C67}" presName="childText" presStyleLbl="revTx" presStyleIdx="1" presStyleCnt="4">
        <dgm:presLayoutVars>
          <dgm:bulletEnabled val="1"/>
        </dgm:presLayoutVars>
      </dgm:prSet>
      <dgm:spPr/>
    </dgm:pt>
    <dgm:pt modelId="{08F95BED-C991-402F-AAFB-A1331015867B}" type="pres">
      <dgm:prSet presAssocID="{CD1688D4-91E9-4998-8106-14C09287E3C3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7C2011B3-1584-4A38-BD97-A22F40F58335}" type="pres">
      <dgm:prSet presAssocID="{CD1688D4-91E9-4998-8106-14C09287E3C3}" presName="childText" presStyleLbl="revTx" presStyleIdx="2" presStyleCnt="4">
        <dgm:presLayoutVars>
          <dgm:bulletEnabled val="1"/>
        </dgm:presLayoutVars>
      </dgm:prSet>
      <dgm:spPr/>
    </dgm:pt>
    <dgm:pt modelId="{5C1C16AB-459E-4613-8714-797F0E78F838}" type="pres">
      <dgm:prSet presAssocID="{408C5693-F5BB-4EA7-A23B-2BA4673770BE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EC2F44DB-5347-4A7C-B637-5BFE0483AA84}" type="pres">
      <dgm:prSet presAssocID="{408C5693-F5BB-4EA7-A23B-2BA4673770BE}" presName="childText" presStyleLbl="revTx" presStyleIdx="3" presStyleCnt="4">
        <dgm:presLayoutVars>
          <dgm:bulletEnabled val="1"/>
        </dgm:presLayoutVars>
      </dgm:prSet>
      <dgm:spPr/>
    </dgm:pt>
  </dgm:ptLst>
  <dgm:cxnLst>
    <dgm:cxn modelId="{5DBE0402-1A16-4978-8AC7-2229AF46E524}" type="presOf" srcId="{96EB2B59-BA52-4F3C-BD90-742088494F8A}" destId="{8BCE02CB-254E-4C57-A407-DDF121B34B22}" srcOrd="0" destOrd="0" presId="urn:microsoft.com/office/officeart/2005/8/layout/vList2"/>
    <dgm:cxn modelId="{DE43C303-DF10-41A2-A209-BAD243701529}" type="presOf" srcId="{9EF0D310-634E-4CF8-BD9C-6F3A835125BC}" destId="{EC2F44DB-5347-4A7C-B637-5BFE0483AA84}" srcOrd="0" destOrd="4" presId="urn:microsoft.com/office/officeart/2005/8/layout/vList2"/>
    <dgm:cxn modelId="{827AB909-6F03-49F8-B0AE-5E3C94D3882D}" type="presOf" srcId="{2996AC6B-DA91-44A6-B505-EDECFE7B8C01}" destId="{EC2F44DB-5347-4A7C-B637-5BFE0483AA84}" srcOrd="0" destOrd="2" presId="urn:microsoft.com/office/officeart/2005/8/layout/vList2"/>
    <dgm:cxn modelId="{936E140F-BB5E-47CD-91A4-86742CEC9391}" srcId="{408C5693-F5BB-4EA7-A23B-2BA4673770BE}" destId="{3988371C-6652-423A-8AE6-58F9186CC070}" srcOrd="3" destOrd="0" parTransId="{3AE62B66-8885-4F25-B056-DA5BB66C67BE}" sibTransId="{8B74D36E-8B71-40EC-8029-CCB1EB7C2501}"/>
    <dgm:cxn modelId="{834B321B-105C-4E69-90A0-B55AFD6C949B}" srcId="{408C5693-F5BB-4EA7-A23B-2BA4673770BE}" destId="{9EF0D310-634E-4CF8-BD9C-6F3A835125BC}" srcOrd="4" destOrd="0" parTransId="{13310083-A278-4B82-93B5-049E7DBF3FBD}" sibTransId="{25BCD406-D405-4CF2-B64B-8D2A3C8C1FAE}"/>
    <dgm:cxn modelId="{1A07AC28-A9B1-4499-8D0C-D733FEF30967}" srcId="{408C5693-F5BB-4EA7-A23B-2BA4673770BE}" destId="{0F8F0187-56E8-4EE9-A796-EC48976BED55}" srcOrd="0" destOrd="0" parTransId="{0EDDA7C9-F688-4CC8-9920-C1EAB0F08CF4}" sibTransId="{E2A01A7A-1D3D-4171-BFF8-F4E3F4BE606B}"/>
    <dgm:cxn modelId="{CE152739-6775-4ABA-B6D1-7D79DFD532E3}" type="presOf" srcId="{3F337530-23B7-40A6-A47D-4002DD7E7C67}" destId="{F72876AE-6B4F-4ADF-8B17-F7B8DB3F08F4}" srcOrd="0" destOrd="0" presId="urn:microsoft.com/office/officeart/2005/8/layout/vList2"/>
    <dgm:cxn modelId="{9F4B783F-D082-4EB4-8245-CC9987311272}" srcId="{A81660DE-A1BA-44B8-A73D-23C065393056}" destId="{CD1688D4-91E9-4998-8106-14C09287E3C3}" srcOrd="2" destOrd="0" parTransId="{EB15B53E-62A0-4C41-A58A-682AFF38E7AC}" sibTransId="{0362F5FE-5267-42F7-A00B-2776A8550D2F}"/>
    <dgm:cxn modelId="{CF80EE65-3203-4DD7-B567-A18E5F41FDEC}" type="presOf" srcId="{A2C33852-E725-4066-8346-AF89F24B25E3}" destId="{FA93B22A-5B26-4F4C-B090-DE95A9CEBF4A}" srcOrd="0" destOrd="0" presId="urn:microsoft.com/office/officeart/2005/8/layout/vList2"/>
    <dgm:cxn modelId="{48FE2B47-84DB-4852-B2F2-FB1123B809EA}" srcId="{A81660DE-A1BA-44B8-A73D-23C065393056}" destId="{A65C54E2-0137-428E-90D7-33EDAB44A0BA}" srcOrd="0" destOrd="0" parTransId="{C0073FD8-57B2-4607-8E04-57C1615D6830}" sibTransId="{27D2F6D5-4D86-4163-BB1A-6FEEC19947E9}"/>
    <dgm:cxn modelId="{36A4D04D-54B6-47A0-B3E1-B017EB1107D2}" type="presOf" srcId="{A65C54E2-0137-428E-90D7-33EDAB44A0BA}" destId="{E83E389E-9F27-428E-9A2C-7697AB0F4410}" srcOrd="0" destOrd="0" presId="urn:microsoft.com/office/officeart/2005/8/layout/vList2"/>
    <dgm:cxn modelId="{BBFE364E-A3AC-4CEA-8F7C-55164B685ACC}" type="presOf" srcId="{96B399AA-CFF1-4240-A3F0-CC7012E04244}" destId="{7C2011B3-1584-4A38-BD97-A22F40F58335}" srcOrd="0" destOrd="0" presId="urn:microsoft.com/office/officeart/2005/8/layout/vList2"/>
    <dgm:cxn modelId="{5D388C87-EE12-493E-908D-8F33335C6581}" srcId="{408C5693-F5BB-4EA7-A23B-2BA4673770BE}" destId="{BDDED311-7C36-42B6-A688-83C6669A5907}" srcOrd="1" destOrd="0" parTransId="{5B8E04E7-4611-4AEA-BA9D-F867F1270694}" sibTransId="{8ABE6A41-D58E-449C-8481-7D78A9F35FA3}"/>
    <dgm:cxn modelId="{7AB61B96-A8EA-4036-9236-EC93E211743D}" srcId="{A65C54E2-0137-428E-90D7-33EDAB44A0BA}" destId="{A2C33852-E725-4066-8346-AF89F24B25E3}" srcOrd="0" destOrd="0" parTransId="{B937236B-7925-4044-8179-871B7B059094}" sibTransId="{1099BD9E-D13F-4B36-9AEC-F68537FEC27A}"/>
    <dgm:cxn modelId="{9752F499-A98B-42A3-9D63-37E2E019039D}" type="presOf" srcId="{408C5693-F5BB-4EA7-A23B-2BA4673770BE}" destId="{5C1C16AB-459E-4613-8714-797F0E78F838}" srcOrd="0" destOrd="0" presId="urn:microsoft.com/office/officeart/2005/8/layout/vList2"/>
    <dgm:cxn modelId="{B64A0B9A-A568-4C6D-BB0B-19E4F24458F2}" type="presOf" srcId="{999AC1ED-EA44-4BB6-BA86-D8EEB59A55CB}" destId="{EC2F44DB-5347-4A7C-B637-5BFE0483AA84}" srcOrd="0" destOrd="5" presId="urn:microsoft.com/office/officeart/2005/8/layout/vList2"/>
    <dgm:cxn modelId="{C1F4C69B-5445-4189-BD2E-0ACF24407E72}" srcId="{408C5693-F5BB-4EA7-A23B-2BA4673770BE}" destId="{2996AC6B-DA91-44A6-B505-EDECFE7B8C01}" srcOrd="2" destOrd="0" parTransId="{396F0D41-A8F7-4624-B8CB-8FECA1E23049}" sibTransId="{513C4A9C-384B-4851-9EA0-DDD73D5E7069}"/>
    <dgm:cxn modelId="{287E77B0-05BB-4969-AE4A-63496794AB39}" srcId="{CD1688D4-91E9-4998-8106-14C09287E3C3}" destId="{96B399AA-CFF1-4240-A3F0-CC7012E04244}" srcOrd="0" destOrd="0" parTransId="{9B69A7E1-1834-49D0-BA51-D78C6F9BA8D8}" sibTransId="{C5515100-0995-4C41-8702-227B54EFBF5D}"/>
    <dgm:cxn modelId="{FCF4E0C5-78CA-49E2-BA54-84219854FA71}" srcId="{408C5693-F5BB-4EA7-A23B-2BA4673770BE}" destId="{999AC1ED-EA44-4BB6-BA86-D8EEB59A55CB}" srcOrd="5" destOrd="0" parTransId="{E5C60201-8318-4BC3-8174-6BC07A980CF4}" sibTransId="{F12465EF-C5E7-44B4-BD72-1036880A1CCB}"/>
    <dgm:cxn modelId="{4F5F03C9-352D-4405-A24B-F354469BC9B1}" srcId="{A81660DE-A1BA-44B8-A73D-23C065393056}" destId="{408C5693-F5BB-4EA7-A23B-2BA4673770BE}" srcOrd="3" destOrd="0" parTransId="{E1BAD66A-580F-414F-923A-C7E5879A915C}" sibTransId="{253D6953-4E63-4E57-B883-693C2ADA4BA1}"/>
    <dgm:cxn modelId="{35A79CCE-EA9A-49A7-AFEE-C8B648E9ECC9}" type="presOf" srcId="{BDDED311-7C36-42B6-A688-83C6669A5907}" destId="{EC2F44DB-5347-4A7C-B637-5BFE0483AA84}" srcOrd="0" destOrd="1" presId="urn:microsoft.com/office/officeart/2005/8/layout/vList2"/>
    <dgm:cxn modelId="{1EB0E9E0-F8F0-4762-BE11-2DDE6769B9C2}" srcId="{A81660DE-A1BA-44B8-A73D-23C065393056}" destId="{3F337530-23B7-40A6-A47D-4002DD7E7C67}" srcOrd="1" destOrd="0" parTransId="{0F34F7C4-67B0-4E81-80F2-49E74F8C4140}" sibTransId="{4942D4A3-9035-47E0-BD50-DAB35ED96723}"/>
    <dgm:cxn modelId="{997DEAE0-7E67-464F-88EA-B8DB3C7F6B44}" type="presOf" srcId="{0F8F0187-56E8-4EE9-A796-EC48976BED55}" destId="{EC2F44DB-5347-4A7C-B637-5BFE0483AA84}" srcOrd="0" destOrd="0" presId="urn:microsoft.com/office/officeart/2005/8/layout/vList2"/>
    <dgm:cxn modelId="{8BC491EC-2BD5-481D-8F69-C1C970AB6FA2}" type="presOf" srcId="{A81660DE-A1BA-44B8-A73D-23C065393056}" destId="{946A77EF-B463-42F8-B334-94A47F522303}" srcOrd="0" destOrd="0" presId="urn:microsoft.com/office/officeart/2005/8/layout/vList2"/>
    <dgm:cxn modelId="{40DFF8F1-B24D-46AF-8664-60166BDF6281}" type="presOf" srcId="{CD1688D4-91E9-4998-8106-14C09287E3C3}" destId="{08F95BED-C991-402F-AAFB-A1331015867B}" srcOrd="0" destOrd="0" presId="urn:microsoft.com/office/officeart/2005/8/layout/vList2"/>
    <dgm:cxn modelId="{678668F6-463C-4632-BA58-B446042117E9}" type="presOf" srcId="{3988371C-6652-423A-8AE6-58F9186CC070}" destId="{EC2F44DB-5347-4A7C-B637-5BFE0483AA84}" srcOrd="0" destOrd="3" presId="urn:microsoft.com/office/officeart/2005/8/layout/vList2"/>
    <dgm:cxn modelId="{84924EFF-1B8C-4155-8636-CFB72FA60FAF}" srcId="{3F337530-23B7-40A6-A47D-4002DD7E7C67}" destId="{96EB2B59-BA52-4F3C-BD90-742088494F8A}" srcOrd="0" destOrd="0" parTransId="{CA848C46-F7F3-4AB0-B136-B440CE3E2B05}" sibTransId="{1EC5178F-41D5-4E5E-838E-3DA45D889FB6}"/>
    <dgm:cxn modelId="{8027D7ED-C9A0-4413-89D5-C5FC68F01522}" type="presParOf" srcId="{946A77EF-B463-42F8-B334-94A47F522303}" destId="{E83E389E-9F27-428E-9A2C-7697AB0F4410}" srcOrd="0" destOrd="0" presId="urn:microsoft.com/office/officeart/2005/8/layout/vList2"/>
    <dgm:cxn modelId="{E0E85B1B-F9E8-4CFB-BBD0-AEAB52F2D959}" type="presParOf" srcId="{946A77EF-B463-42F8-B334-94A47F522303}" destId="{FA93B22A-5B26-4F4C-B090-DE95A9CEBF4A}" srcOrd="1" destOrd="0" presId="urn:microsoft.com/office/officeart/2005/8/layout/vList2"/>
    <dgm:cxn modelId="{3C3848C8-1A02-4AA0-8B50-85E3A0A8DA92}" type="presParOf" srcId="{946A77EF-B463-42F8-B334-94A47F522303}" destId="{F72876AE-6B4F-4ADF-8B17-F7B8DB3F08F4}" srcOrd="2" destOrd="0" presId="urn:microsoft.com/office/officeart/2005/8/layout/vList2"/>
    <dgm:cxn modelId="{3E05E648-F62D-4055-A2D6-FE85C38F3F98}" type="presParOf" srcId="{946A77EF-B463-42F8-B334-94A47F522303}" destId="{8BCE02CB-254E-4C57-A407-DDF121B34B22}" srcOrd="3" destOrd="0" presId="urn:microsoft.com/office/officeart/2005/8/layout/vList2"/>
    <dgm:cxn modelId="{BD3AEDB4-064B-4486-8E64-8F7C04D8E5AD}" type="presParOf" srcId="{946A77EF-B463-42F8-B334-94A47F522303}" destId="{08F95BED-C991-402F-AAFB-A1331015867B}" srcOrd="4" destOrd="0" presId="urn:microsoft.com/office/officeart/2005/8/layout/vList2"/>
    <dgm:cxn modelId="{12F9E319-9E50-4D1B-8205-38F35B298053}" type="presParOf" srcId="{946A77EF-B463-42F8-B334-94A47F522303}" destId="{7C2011B3-1584-4A38-BD97-A22F40F58335}" srcOrd="5" destOrd="0" presId="urn:microsoft.com/office/officeart/2005/8/layout/vList2"/>
    <dgm:cxn modelId="{BD6BE213-9C4D-46A8-9C70-E52225FFC748}" type="presParOf" srcId="{946A77EF-B463-42F8-B334-94A47F522303}" destId="{5C1C16AB-459E-4613-8714-797F0E78F838}" srcOrd="6" destOrd="0" presId="urn:microsoft.com/office/officeart/2005/8/layout/vList2"/>
    <dgm:cxn modelId="{23CA0196-2C4A-4887-88E7-05D43681D7CC}" type="presParOf" srcId="{946A77EF-B463-42F8-B334-94A47F522303}" destId="{EC2F44DB-5347-4A7C-B637-5BFE0483AA84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FBE74627-E1CB-4E33-BCA8-278FEB56D900}" type="doc">
      <dgm:prSet loTypeId="urn:microsoft.com/office/officeart/2005/8/layout/vList2" loCatId="list" qsTypeId="urn:microsoft.com/office/officeart/2005/8/quickstyle/simple2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AA87EEBF-A819-40E1-B45F-B827BFA0A3E4}">
      <dgm:prSet/>
      <dgm:spPr/>
      <dgm:t>
        <a:bodyPr/>
        <a:lstStyle/>
        <a:p>
          <a:r>
            <a:rPr lang="en-US" dirty="0" err="1"/>
            <a:t>På</a:t>
          </a:r>
          <a:r>
            <a:rPr lang="en-US" dirty="0"/>
            <a:t> </a:t>
          </a:r>
          <a:r>
            <a:rPr lang="en-US" dirty="0" err="1"/>
            <a:t>torsdag</a:t>
          </a:r>
          <a:r>
            <a:rPr lang="en-US" dirty="0"/>
            <a:t> </a:t>
          </a:r>
          <a:r>
            <a:rPr lang="en-US" dirty="0" err="1"/>
            <a:t>inviterer</a:t>
          </a:r>
          <a:r>
            <a:rPr lang="en-US" dirty="0"/>
            <a:t> vi </a:t>
          </a:r>
          <a:r>
            <a:rPr lang="en-US" dirty="0" err="1"/>
            <a:t>til</a:t>
          </a:r>
          <a:r>
            <a:rPr lang="en-US" dirty="0"/>
            <a:t> workshop – “</a:t>
          </a:r>
          <a:r>
            <a:rPr lang="en-US" dirty="0" err="1"/>
            <a:t>hvordan</a:t>
          </a:r>
          <a:r>
            <a:rPr lang="en-US" dirty="0"/>
            <a:t> </a:t>
          </a:r>
          <a:r>
            <a:rPr lang="en-US" dirty="0" err="1"/>
            <a:t>bli</a:t>
          </a:r>
          <a:r>
            <a:rPr lang="en-US" dirty="0"/>
            <a:t> </a:t>
          </a:r>
          <a:r>
            <a:rPr lang="en-US" dirty="0" err="1"/>
            <a:t>en</a:t>
          </a:r>
          <a:r>
            <a:rPr lang="en-US" dirty="0"/>
            <a:t> god student”!</a:t>
          </a:r>
        </a:p>
      </dgm:t>
    </dgm:pt>
    <dgm:pt modelId="{BB0593E4-133B-4CDD-85ED-A8A1D58EDA59}" type="parTrans" cxnId="{D0279C4F-4C40-48C7-830F-39EF4AB4BBF7}">
      <dgm:prSet/>
      <dgm:spPr/>
      <dgm:t>
        <a:bodyPr/>
        <a:lstStyle/>
        <a:p>
          <a:endParaRPr lang="en-US"/>
        </a:p>
      </dgm:t>
    </dgm:pt>
    <dgm:pt modelId="{F0EEA5E3-56C5-46A2-949E-1A2D99485011}" type="sibTrans" cxnId="{D0279C4F-4C40-48C7-830F-39EF4AB4BBF7}">
      <dgm:prSet/>
      <dgm:spPr/>
      <dgm:t>
        <a:bodyPr/>
        <a:lstStyle/>
        <a:p>
          <a:endParaRPr lang="en-US"/>
        </a:p>
      </dgm:t>
    </dgm:pt>
    <dgm:pt modelId="{9BB7EC76-2CC4-4BC9-A2B3-5F26EF9895AB}">
      <dgm:prSet/>
      <dgm:spPr/>
      <dgm:t>
        <a:bodyPr/>
        <a:lstStyle/>
        <a:p>
          <a:r>
            <a:rPr lang="en-US"/>
            <a:t>Oppsummering og oversikt</a:t>
          </a:r>
        </a:p>
      </dgm:t>
    </dgm:pt>
    <dgm:pt modelId="{0807BB2E-F9C4-4CA3-9D71-137CFF379D03}" type="parTrans" cxnId="{9F2BA3A3-C3E0-47D9-8517-4FD20B180546}">
      <dgm:prSet/>
      <dgm:spPr/>
      <dgm:t>
        <a:bodyPr/>
        <a:lstStyle/>
        <a:p>
          <a:endParaRPr lang="en-US"/>
        </a:p>
      </dgm:t>
    </dgm:pt>
    <dgm:pt modelId="{863A9208-FD36-442B-AE1E-0AB000942EFD}" type="sibTrans" cxnId="{9F2BA3A3-C3E0-47D9-8517-4FD20B180546}">
      <dgm:prSet/>
      <dgm:spPr/>
      <dgm:t>
        <a:bodyPr/>
        <a:lstStyle/>
        <a:p>
          <a:endParaRPr lang="en-US"/>
        </a:p>
      </dgm:t>
    </dgm:pt>
    <dgm:pt modelId="{C7131AC5-0039-4804-9F99-E1F4C5EA5BAF}">
      <dgm:prSet/>
      <dgm:spPr/>
      <dgm:t>
        <a:bodyPr/>
        <a:lstStyle/>
        <a:p>
          <a:r>
            <a:rPr lang="en-US"/>
            <a:t>Bli kjent!</a:t>
          </a:r>
        </a:p>
      </dgm:t>
    </dgm:pt>
    <dgm:pt modelId="{CDF41401-5DCD-44C8-91EC-69822A6F323B}" type="parTrans" cxnId="{9C2FB69E-3DCD-4F4F-A896-66EA611F7FD2}">
      <dgm:prSet/>
      <dgm:spPr/>
      <dgm:t>
        <a:bodyPr/>
        <a:lstStyle/>
        <a:p>
          <a:endParaRPr lang="en-US"/>
        </a:p>
      </dgm:t>
    </dgm:pt>
    <dgm:pt modelId="{D5BB246A-D329-4D74-A19A-9772D254E2D8}" type="sibTrans" cxnId="{9C2FB69E-3DCD-4F4F-A896-66EA611F7FD2}">
      <dgm:prSet/>
      <dgm:spPr/>
      <dgm:t>
        <a:bodyPr/>
        <a:lstStyle/>
        <a:p>
          <a:endParaRPr lang="en-US"/>
        </a:p>
      </dgm:t>
    </dgm:pt>
    <dgm:pt modelId="{A91990DA-35EF-4834-901F-661E1D40E415}">
      <dgm:prSet/>
      <dgm:spPr/>
      <dgm:t>
        <a:bodyPr/>
        <a:lstStyle/>
        <a:p>
          <a:r>
            <a:rPr lang="en-US" dirty="0"/>
            <a:t>Gratis pizza </a:t>
          </a:r>
          <a:r>
            <a:rPr lang="en-US" dirty="0" err="1"/>
            <a:t>og</a:t>
          </a:r>
          <a:r>
            <a:rPr lang="en-US" dirty="0"/>
            <a:t> brus</a:t>
          </a:r>
        </a:p>
      </dgm:t>
    </dgm:pt>
    <dgm:pt modelId="{8986231F-6AA0-401F-B742-3DE1886C03A9}" type="parTrans" cxnId="{CE8443B1-6528-4315-A342-39E04F120C62}">
      <dgm:prSet/>
      <dgm:spPr/>
      <dgm:t>
        <a:bodyPr/>
        <a:lstStyle/>
        <a:p>
          <a:endParaRPr lang="en-US"/>
        </a:p>
      </dgm:t>
    </dgm:pt>
    <dgm:pt modelId="{A7B645E2-2D39-48B9-8F24-07C54B7F4C55}" type="sibTrans" cxnId="{CE8443B1-6528-4315-A342-39E04F120C62}">
      <dgm:prSet/>
      <dgm:spPr/>
      <dgm:t>
        <a:bodyPr/>
        <a:lstStyle/>
        <a:p>
          <a:endParaRPr lang="en-US"/>
        </a:p>
      </dgm:t>
    </dgm:pt>
    <dgm:pt modelId="{846D8B01-D3AB-4CAE-A90B-02AA54E34D39}">
      <dgm:prSet/>
      <dgm:spPr/>
      <dgm:t>
        <a:bodyPr/>
        <a:lstStyle/>
        <a:p>
          <a:r>
            <a:rPr lang="en-US" dirty="0"/>
            <a:t>Kl 09:15-13:00 </a:t>
          </a:r>
          <a:r>
            <a:rPr lang="en-US" dirty="0" err="1"/>
            <a:t>i</a:t>
          </a:r>
          <a:r>
            <a:rPr lang="en-US" dirty="0"/>
            <a:t> Sophus </a:t>
          </a:r>
          <a:r>
            <a:rPr lang="en-US" dirty="0" err="1"/>
            <a:t>Bugges</a:t>
          </a:r>
          <a:r>
            <a:rPr lang="en-US" dirty="0"/>
            <a:t> </a:t>
          </a:r>
          <a:r>
            <a:rPr lang="en-US" dirty="0" err="1"/>
            <a:t>hus</a:t>
          </a:r>
          <a:r>
            <a:rPr lang="en-US" dirty="0"/>
            <a:t>, auditorium 1</a:t>
          </a:r>
        </a:p>
      </dgm:t>
    </dgm:pt>
    <dgm:pt modelId="{C7E0AFA9-3505-4B6D-8DC6-5F3E65CD8873}" type="parTrans" cxnId="{D00228CA-2C11-4FC6-9587-BF5ECDEC8043}">
      <dgm:prSet/>
      <dgm:spPr/>
      <dgm:t>
        <a:bodyPr/>
        <a:lstStyle/>
        <a:p>
          <a:endParaRPr lang="en-US"/>
        </a:p>
      </dgm:t>
    </dgm:pt>
    <dgm:pt modelId="{D8E39914-CD24-43E3-94EA-4C8685DD4E88}" type="sibTrans" cxnId="{D00228CA-2C11-4FC6-9587-BF5ECDEC8043}">
      <dgm:prSet/>
      <dgm:spPr/>
      <dgm:t>
        <a:bodyPr/>
        <a:lstStyle/>
        <a:p>
          <a:endParaRPr lang="en-US"/>
        </a:p>
      </dgm:t>
    </dgm:pt>
    <dgm:pt modelId="{A5E34833-7CD7-457A-A438-2F1FD6CEDF01}" type="pres">
      <dgm:prSet presAssocID="{FBE74627-E1CB-4E33-BCA8-278FEB56D900}" presName="linear" presStyleCnt="0">
        <dgm:presLayoutVars>
          <dgm:animLvl val="lvl"/>
          <dgm:resizeHandles val="exact"/>
        </dgm:presLayoutVars>
      </dgm:prSet>
      <dgm:spPr/>
    </dgm:pt>
    <dgm:pt modelId="{060AE60D-BFBC-4838-A453-92E8A243E86B}" type="pres">
      <dgm:prSet presAssocID="{AA87EEBF-A819-40E1-B45F-B827BFA0A3E4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F7544076-CC2B-45EB-AC73-9CBF44D34F3C}" type="pres">
      <dgm:prSet presAssocID="{F0EEA5E3-56C5-46A2-949E-1A2D99485011}" presName="spacer" presStyleCnt="0"/>
      <dgm:spPr/>
    </dgm:pt>
    <dgm:pt modelId="{D3173D4F-60DD-472B-A4E6-D8D94BAB0B6C}" type="pres">
      <dgm:prSet presAssocID="{9BB7EC76-2CC4-4BC9-A2B3-5F26EF9895AB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901CF592-233F-49CF-AFCD-1C98C667D4A4}" type="pres">
      <dgm:prSet presAssocID="{863A9208-FD36-442B-AE1E-0AB000942EFD}" presName="spacer" presStyleCnt="0"/>
      <dgm:spPr/>
    </dgm:pt>
    <dgm:pt modelId="{5773BE97-366C-4FBC-9B41-D610FCB1847F}" type="pres">
      <dgm:prSet presAssocID="{C7131AC5-0039-4804-9F99-E1F4C5EA5BAF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9CFE2419-0861-476E-9776-340B406944A4}" type="pres">
      <dgm:prSet presAssocID="{D5BB246A-D329-4D74-A19A-9772D254E2D8}" presName="spacer" presStyleCnt="0"/>
      <dgm:spPr/>
    </dgm:pt>
    <dgm:pt modelId="{42FC749E-9D60-46E2-BD91-C6517732F6E8}" type="pres">
      <dgm:prSet presAssocID="{A91990DA-35EF-4834-901F-661E1D40E415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1B0DAA08-9153-4A33-85C5-6087F542302E}" type="pres">
      <dgm:prSet presAssocID="{A7B645E2-2D39-48B9-8F24-07C54B7F4C55}" presName="spacer" presStyleCnt="0"/>
      <dgm:spPr/>
    </dgm:pt>
    <dgm:pt modelId="{9B567F96-73D9-44AC-A3CF-37CC339BF201}" type="pres">
      <dgm:prSet presAssocID="{846D8B01-D3AB-4CAE-A90B-02AA54E34D39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B366FC0B-1B4C-4E1C-BCC2-AF7684F861C9}" type="presOf" srcId="{FBE74627-E1CB-4E33-BCA8-278FEB56D900}" destId="{A5E34833-7CD7-457A-A438-2F1FD6CEDF01}" srcOrd="0" destOrd="0" presId="urn:microsoft.com/office/officeart/2005/8/layout/vList2"/>
    <dgm:cxn modelId="{78F4C610-70C3-4052-850B-6A1077F7D0D8}" type="presOf" srcId="{9BB7EC76-2CC4-4BC9-A2B3-5F26EF9895AB}" destId="{D3173D4F-60DD-472B-A4E6-D8D94BAB0B6C}" srcOrd="0" destOrd="0" presId="urn:microsoft.com/office/officeart/2005/8/layout/vList2"/>
    <dgm:cxn modelId="{15AFE561-4757-46B0-8247-149F0BCD856D}" type="presOf" srcId="{C7131AC5-0039-4804-9F99-E1F4C5EA5BAF}" destId="{5773BE97-366C-4FBC-9B41-D610FCB1847F}" srcOrd="0" destOrd="0" presId="urn:microsoft.com/office/officeart/2005/8/layout/vList2"/>
    <dgm:cxn modelId="{DB5C486D-A369-46FC-965C-A44C2B91AC59}" type="presOf" srcId="{A91990DA-35EF-4834-901F-661E1D40E415}" destId="{42FC749E-9D60-46E2-BD91-C6517732F6E8}" srcOrd="0" destOrd="0" presId="urn:microsoft.com/office/officeart/2005/8/layout/vList2"/>
    <dgm:cxn modelId="{D0279C4F-4C40-48C7-830F-39EF4AB4BBF7}" srcId="{FBE74627-E1CB-4E33-BCA8-278FEB56D900}" destId="{AA87EEBF-A819-40E1-B45F-B827BFA0A3E4}" srcOrd="0" destOrd="0" parTransId="{BB0593E4-133B-4CDD-85ED-A8A1D58EDA59}" sibTransId="{F0EEA5E3-56C5-46A2-949E-1A2D99485011}"/>
    <dgm:cxn modelId="{9C2FB69E-3DCD-4F4F-A896-66EA611F7FD2}" srcId="{FBE74627-E1CB-4E33-BCA8-278FEB56D900}" destId="{C7131AC5-0039-4804-9F99-E1F4C5EA5BAF}" srcOrd="2" destOrd="0" parTransId="{CDF41401-5DCD-44C8-91EC-69822A6F323B}" sibTransId="{D5BB246A-D329-4D74-A19A-9772D254E2D8}"/>
    <dgm:cxn modelId="{9F2BA3A3-C3E0-47D9-8517-4FD20B180546}" srcId="{FBE74627-E1CB-4E33-BCA8-278FEB56D900}" destId="{9BB7EC76-2CC4-4BC9-A2B3-5F26EF9895AB}" srcOrd="1" destOrd="0" parTransId="{0807BB2E-F9C4-4CA3-9D71-137CFF379D03}" sibTransId="{863A9208-FD36-442B-AE1E-0AB000942EFD}"/>
    <dgm:cxn modelId="{CE8443B1-6528-4315-A342-39E04F120C62}" srcId="{FBE74627-E1CB-4E33-BCA8-278FEB56D900}" destId="{A91990DA-35EF-4834-901F-661E1D40E415}" srcOrd="3" destOrd="0" parTransId="{8986231F-6AA0-401F-B742-3DE1886C03A9}" sibTransId="{A7B645E2-2D39-48B9-8F24-07C54B7F4C55}"/>
    <dgm:cxn modelId="{D00228CA-2C11-4FC6-9587-BF5ECDEC8043}" srcId="{FBE74627-E1CB-4E33-BCA8-278FEB56D900}" destId="{846D8B01-D3AB-4CAE-A90B-02AA54E34D39}" srcOrd="4" destOrd="0" parTransId="{C7E0AFA9-3505-4B6D-8DC6-5F3E65CD8873}" sibTransId="{D8E39914-CD24-43E3-94EA-4C8685DD4E88}"/>
    <dgm:cxn modelId="{DA003ED1-1A45-4E12-ACAC-95294A6B2D93}" type="presOf" srcId="{846D8B01-D3AB-4CAE-A90B-02AA54E34D39}" destId="{9B567F96-73D9-44AC-A3CF-37CC339BF201}" srcOrd="0" destOrd="0" presId="urn:microsoft.com/office/officeart/2005/8/layout/vList2"/>
    <dgm:cxn modelId="{5477BDF8-0A46-4587-93B9-97A094F59D2C}" type="presOf" srcId="{AA87EEBF-A819-40E1-B45F-B827BFA0A3E4}" destId="{060AE60D-BFBC-4838-A453-92E8A243E86B}" srcOrd="0" destOrd="0" presId="urn:microsoft.com/office/officeart/2005/8/layout/vList2"/>
    <dgm:cxn modelId="{5C4C54DE-10AE-477D-B06A-5EAC1100A798}" type="presParOf" srcId="{A5E34833-7CD7-457A-A438-2F1FD6CEDF01}" destId="{060AE60D-BFBC-4838-A453-92E8A243E86B}" srcOrd="0" destOrd="0" presId="urn:microsoft.com/office/officeart/2005/8/layout/vList2"/>
    <dgm:cxn modelId="{234D373A-A280-4A8E-B0F9-9836EE761258}" type="presParOf" srcId="{A5E34833-7CD7-457A-A438-2F1FD6CEDF01}" destId="{F7544076-CC2B-45EB-AC73-9CBF44D34F3C}" srcOrd="1" destOrd="0" presId="urn:microsoft.com/office/officeart/2005/8/layout/vList2"/>
    <dgm:cxn modelId="{3E3BC43C-1C29-4E33-AA6E-68C5A7A18331}" type="presParOf" srcId="{A5E34833-7CD7-457A-A438-2F1FD6CEDF01}" destId="{D3173D4F-60DD-472B-A4E6-D8D94BAB0B6C}" srcOrd="2" destOrd="0" presId="urn:microsoft.com/office/officeart/2005/8/layout/vList2"/>
    <dgm:cxn modelId="{6B3BF944-EA16-41ED-9C96-FE5093F84B5B}" type="presParOf" srcId="{A5E34833-7CD7-457A-A438-2F1FD6CEDF01}" destId="{901CF592-233F-49CF-AFCD-1C98C667D4A4}" srcOrd="3" destOrd="0" presId="urn:microsoft.com/office/officeart/2005/8/layout/vList2"/>
    <dgm:cxn modelId="{9ABBA550-0C20-434D-BBA5-09599DC16846}" type="presParOf" srcId="{A5E34833-7CD7-457A-A438-2F1FD6CEDF01}" destId="{5773BE97-366C-4FBC-9B41-D610FCB1847F}" srcOrd="4" destOrd="0" presId="urn:microsoft.com/office/officeart/2005/8/layout/vList2"/>
    <dgm:cxn modelId="{1F321362-9762-41F0-B177-06B2545AD674}" type="presParOf" srcId="{A5E34833-7CD7-457A-A438-2F1FD6CEDF01}" destId="{9CFE2419-0861-476E-9776-340B406944A4}" srcOrd="5" destOrd="0" presId="urn:microsoft.com/office/officeart/2005/8/layout/vList2"/>
    <dgm:cxn modelId="{6E2D63FA-871D-47DF-A157-6DE404BF5CBF}" type="presParOf" srcId="{A5E34833-7CD7-457A-A438-2F1FD6CEDF01}" destId="{42FC749E-9D60-46E2-BD91-C6517732F6E8}" srcOrd="6" destOrd="0" presId="urn:microsoft.com/office/officeart/2005/8/layout/vList2"/>
    <dgm:cxn modelId="{DDCC525A-FA19-46E9-819D-C83DCB5ACB49}" type="presParOf" srcId="{A5E34833-7CD7-457A-A438-2F1FD6CEDF01}" destId="{1B0DAA08-9153-4A33-85C5-6087F542302E}" srcOrd="7" destOrd="0" presId="urn:microsoft.com/office/officeart/2005/8/layout/vList2"/>
    <dgm:cxn modelId="{0291BE24-FC46-452F-B112-D4F01F3C4FA4}" type="presParOf" srcId="{A5E34833-7CD7-457A-A438-2F1FD6CEDF01}" destId="{9B567F96-73D9-44AC-A3CF-37CC339BF201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D33EC70-2B8D-424F-A97B-143FF2EF4A26}" type="doc">
      <dgm:prSet loTypeId="urn:microsoft.com/office/officeart/2005/8/layout/vList2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C262F8AA-5F59-41BB-931A-4C3B9913198B}">
      <dgm:prSet/>
      <dgm:spPr/>
      <dgm:t>
        <a:bodyPr/>
        <a:lstStyle/>
        <a:p>
          <a:r>
            <a:rPr lang="nb-NO" dirty="0">
              <a:hlinkClick xmlns:r="http://schemas.openxmlformats.org/officeDocument/2006/relationships" r:id="rId1"/>
            </a:rPr>
            <a:t>Fordypningsfag (80-gruppe)</a:t>
          </a:r>
          <a:endParaRPr lang="en-US" dirty="0"/>
        </a:p>
      </dgm:t>
    </dgm:pt>
    <dgm:pt modelId="{15347DE9-13F5-469B-8C10-F5D7A4A2C637}" type="parTrans" cxnId="{217FDEA5-4EB1-4732-A5D5-ABB7C4848318}">
      <dgm:prSet/>
      <dgm:spPr/>
      <dgm:t>
        <a:bodyPr/>
        <a:lstStyle/>
        <a:p>
          <a:endParaRPr lang="en-US"/>
        </a:p>
      </dgm:t>
    </dgm:pt>
    <dgm:pt modelId="{551C8BCA-CC08-4561-9FAF-71030C6C5CBC}" type="sibTrans" cxnId="{217FDEA5-4EB1-4732-A5D5-ABB7C4848318}">
      <dgm:prSet/>
      <dgm:spPr/>
      <dgm:t>
        <a:bodyPr/>
        <a:lstStyle/>
        <a:p>
          <a:endParaRPr lang="en-US"/>
        </a:p>
      </dgm:t>
    </dgm:pt>
    <dgm:pt modelId="{EA13A9D9-3E91-4E8C-9393-1121AA24809D}">
      <dgm:prSet/>
      <dgm:spPr/>
      <dgm:t>
        <a:bodyPr/>
        <a:lstStyle/>
        <a:p>
          <a:r>
            <a:rPr lang="nb-NO" dirty="0">
              <a:hlinkClick xmlns:r="http://schemas.openxmlformats.org/officeDocument/2006/relationships" r:id="rId2"/>
            </a:rPr>
            <a:t>Støttefag i kultur- eller samfunnsfag (40-gruppe)</a:t>
          </a:r>
          <a:endParaRPr lang="en-US" dirty="0"/>
        </a:p>
      </dgm:t>
    </dgm:pt>
    <dgm:pt modelId="{10877453-9936-4CCD-8E94-3A86D1562531}" type="parTrans" cxnId="{7804A4D3-D1BA-4888-B4D7-2B7F57B441D5}">
      <dgm:prSet/>
      <dgm:spPr/>
      <dgm:t>
        <a:bodyPr/>
        <a:lstStyle/>
        <a:p>
          <a:endParaRPr lang="en-US"/>
        </a:p>
      </dgm:t>
    </dgm:pt>
    <dgm:pt modelId="{E6F39D05-6FCB-48F2-8D41-FF871642EEB1}" type="sibTrans" cxnId="{7804A4D3-D1BA-4888-B4D7-2B7F57B441D5}">
      <dgm:prSet/>
      <dgm:spPr/>
      <dgm:t>
        <a:bodyPr/>
        <a:lstStyle/>
        <a:p>
          <a:endParaRPr lang="en-US"/>
        </a:p>
      </dgm:t>
    </dgm:pt>
    <dgm:pt modelId="{7AC50DB4-82EE-4924-89FE-F36088001E46}">
      <dgm:prSet/>
      <dgm:spPr/>
      <dgm:t>
        <a:bodyPr/>
        <a:lstStyle/>
        <a:p>
          <a:r>
            <a:rPr lang="nb-NO" dirty="0">
              <a:hlinkClick xmlns:r="http://schemas.openxmlformats.org/officeDocument/2006/relationships" r:id="rId2"/>
            </a:rPr>
            <a:t>Utenlandsopphold eller frie emner (40 studiepoeng)</a:t>
          </a:r>
          <a:endParaRPr lang="en-US" dirty="0"/>
        </a:p>
      </dgm:t>
    </dgm:pt>
    <dgm:pt modelId="{FDD1131A-C59A-48FF-9C3E-8186C7C51532}" type="parTrans" cxnId="{1F1BAB91-F9A5-4CD6-971D-66595D0E63AC}">
      <dgm:prSet/>
      <dgm:spPr/>
      <dgm:t>
        <a:bodyPr/>
        <a:lstStyle/>
        <a:p>
          <a:endParaRPr lang="en-US"/>
        </a:p>
      </dgm:t>
    </dgm:pt>
    <dgm:pt modelId="{BDA617BC-E4F6-4B61-80B2-8720B3326D3C}" type="sibTrans" cxnId="{1F1BAB91-F9A5-4CD6-971D-66595D0E63AC}">
      <dgm:prSet/>
      <dgm:spPr/>
      <dgm:t>
        <a:bodyPr/>
        <a:lstStyle/>
        <a:p>
          <a:endParaRPr lang="en-US"/>
        </a:p>
      </dgm:t>
    </dgm:pt>
    <dgm:pt modelId="{6D86F590-A47F-4575-BEF0-DD15C5D642D2}">
      <dgm:prSet/>
      <dgm:spPr/>
      <dgm:t>
        <a:bodyPr/>
        <a:lstStyle/>
        <a:p>
          <a:r>
            <a:rPr lang="nb-NO" dirty="0">
              <a:hlinkClick xmlns:r="http://schemas.openxmlformats.org/officeDocument/2006/relationships" r:id="rId2"/>
            </a:rPr>
            <a:t>Ex.phil og </a:t>
          </a:r>
          <a:r>
            <a:rPr lang="nb-NO" dirty="0" err="1">
              <a:hlinkClick xmlns:r="http://schemas.openxmlformats.org/officeDocument/2006/relationships" r:id="rId2"/>
            </a:rPr>
            <a:t>ex.fac</a:t>
          </a:r>
          <a:r>
            <a:rPr lang="nb-NO" dirty="0">
              <a:hlinkClick xmlns:r="http://schemas.openxmlformats.org/officeDocument/2006/relationships" r:id="rId2"/>
            </a:rPr>
            <a:t> (20 studiepoeng)</a:t>
          </a:r>
          <a:endParaRPr lang="en-US" dirty="0"/>
        </a:p>
      </dgm:t>
    </dgm:pt>
    <dgm:pt modelId="{7435100D-56ED-477F-A02A-E3418651BF43}" type="parTrans" cxnId="{52DB5725-EEF6-405B-9BFF-7E21E5B18219}">
      <dgm:prSet/>
      <dgm:spPr/>
      <dgm:t>
        <a:bodyPr/>
        <a:lstStyle/>
        <a:p>
          <a:endParaRPr lang="en-US"/>
        </a:p>
      </dgm:t>
    </dgm:pt>
    <dgm:pt modelId="{928F2928-6111-4CC9-9E44-619F8761429D}" type="sibTrans" cxnId="{52DB5725-EEF6-405B-9BFF-7E21E5B18219}">
      <dgm:prSet/>
      <dgm:spPr/>
      <dgm:t>
        <a:bodyPr/>
        <a:lstStyle/>
        <a:p>
          <a:endParaRPr lang="en-US"/>
        </a:p>
      </dgm:t>
    </dgm:pt>
    <dgm:pt modelId="{D8EA0F68-31C9-4F75-BFE4-EDAA182A9D96}" type="pres">
      <dgm:prSet presAssocID="{ED33EC70-2B8D-424F-A97B-143FF2EF4A26}" presName="linear" presStyleCnt="0">
        <dgm:presLayoutVars>
          <dgm:animLvl val="lvl"/>
          <dgm:resizeHandles val="exact"/>
        </dgm:presLayoutVars>
      </dgm:prSet>
      <dgm:spPr/>
    </dgm:pt>
    <dgm:pt modelId="{744278A7-0946-4EF3-BB24-AB3BE3FA93BF}" type="pres">
      <dgm:prSet presAssocID="{C262F8AA-5F59-41BB-931A-4C3B9913198B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0034732B-4B70-48F2-8D15-BC30D51077CB}" type="pres">
      <dgm:prSet presAssocID="{551C8BCA-CC08-4561-9FAF-71030C6C5CBC}" presName="spacer" presStyleCnt="0"/>
      <dgm:spPr/>
    </dgm:pt>
    <dgm:pt modelId="{11676EF9-E812-484D-BB72-0900F7642984}" type="pres">
      <dgm:prSet presAssocID="{EA13A9D9-3E91-4E8C-9393-1121AA24809D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B988339-51E5-496E-9212-8B75F45D8E33}" type="pres">
      <dgm:prSet presAssocID="{E6F39D05-6FCB-48F2-8D41-FF871642EEB1}" presName="spacer" presStyleCnt="0"/>
      <dgm:spPr/>
    </dgm:pt>
    <dgm:pt modelId="{FAF4DFB3-6C91-4E49-986E-6D272B1726A2}" type="pres">
      <dgm:prSet presAssocID="{7AC50DB4-82EE-4924-89FE-F36088001E46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9AF9942B-1E93-4971-A369-DE8B72781ED8}" type="pres">
      <dgm:prSet presAssocID="{BDA617BC-E4F6-4B61-80B2-8720B3326D3C}" presName="spacer" presStyleCnt="0"/>
      <dgm:spPr/>
    </dgm:pt>
    <dgm:pt modelId="{EA208C51-D629-405E-B811-7E6A988F21A4}" type="pres">
      <dgm:prSet presAssocID="{6D86F590-A47F-4575-BEF0-DD15C5D642D2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52DB5725-EEF6-405B-9BFF-7E21E5B18219}" srcId="{ED33EC70-2B8D-424F-A97B-143FF2EF4A26}" destId="{6D86F590-A47F-4575-BEF0-DD15C5D642D2}" srcOrd="3" destOrd="0" parTransId="{7435100D-56ED-477F-A02A-E3418651BF43}" sibTransId="{928F2928-6111-4CC9-9E44-619F8761429D}"/>
    <dgm:cxn modelId="{9B4D2761-7803-40FB-BA00-BE6C53761712}" type="presOf" srcId="{6D86F590-A47F-4575-BEF0-DD15C5D642D2}" destId="{EA208C51-D629-405E-B811-7E6A988F21A4}" srcOrd="0" destOrd="0" presId="urn:microsoft.com/office/officeart/2005/8/layout/vList2"/>
    <dgm:cxn modelId="{CFE73543-A22F-4F1A-A72B-937669FD8E8F}" type="presOf" srcId="{ED33EC70-2B8D-424F-A97B-143FF2EF4A26}" destId="{D8EA0F68-31C9-4F75-BFE4-EDAA182A9D96}" srcOrd="0" destOrd="0" presId="urn:microsoft.com/office/officeart/2005/8/layout/vList2"/>
    <dgm:cxn modelId="{1F1BAB91-F9A5-4CD6-971D-66595D0E63AC}" srcId="{ED33EC70-2B8D-424F-A97B-143FF2EF4A26}" destId="{7AC50DB4-82EE-4924-89FE-F36088001E46}" srcOrd="2" destOrd="0" parTransId="{FDD1131A-C59A-48FF-9C3E-8186C7C51532}" sibTransId="{BDA617BC-E4F6-4B61-80B2-8720B3326D3C}"/>
    <dgm:cxn modelId="{217FDEA5-4EB1-4732-A5D5-ABB7C4848318}" srcId="{ED33EC70-2B8D-424F-A97B-143FF2EF4A26}" destId="{C262F8AA-5F59-41BB-931A-4C3B9913198B}" srcOrd="0" destOrd="0" parTransId="{15347DE9-13F5-469B-8C10-F5D7A4A2C637}" sibTransId="{551C8BCA-CC08-4561-9FAF-71030C6C5CBC}"/>
    <dgm:cxn modelId="{7804A4D3-D1BA-4888-B4D7-2B7F57B441D5}" srcId="{ED33EC70-2B8D-424F-A97B-143FF2EF4A26}" destId="{EA13A9D9-3E91-4E8C-9393-1121AA24809D}" srcOrd="1" destOrd="0" parTransId="{10877453-9936-4CCD-8E94-3A86D1562531}" sibTransId="{E6F39D05-6FCB-48F2-8D41-FF871642EEB1}"/>
    <dgm:cxn modelId="{6F579BD7-6C75-4206-9653-01829C748FAA}" type="presOf" srcId="{C262F8AA-5F59-41BB-931A-4C3B9913198B}" destId="{744278A7-0946-4EF3-BB24-AB3BE3FA93BF}" srcOrd="0" destOrd="0" presId="urn:microsoft.com/office/officeart/2005/8/layout/vList2"/>
    <dgm:cxn modelId="{317E78D8-9777-4A46-8CC3-61AA76D5F952}" type="presOf" srcId="{7AC50DB4-82EE-4924-89FE-F36088001E46}" destId="{FAF4DFB3-6C91-4E49-986E-6D272B1726A2}" srcOrd="0" destOrd="0" presId="urn:microsoft.com/office/officeart/2005/8/layout/vList2"/>
    <dgm:cxn modelId="{F119B9FF-7E27-4B6D-82AB-9DB9A674010F}" type="presOf" srcId="{EA13A9D9-3E91-4E8C-9393-1121AA24809D}" destId="{11676EF9-E812-484D-BB72-0900F7642984}" srcOrd="0" destOrd="0" presId="urn:microsoft.com/office/officeart/2005/8/layout/vList2"/>
    <dgm:cxn modelId="{0BA7C8CA-2CD8-4F09-883B-3378C313A5E0}" type="presParOf" srcId="{D8EA0F68-31C9-4F75-BFE4-EDAA182A9D96}" destId="{744278A7-0946-4EF3-BB24-AB3BE3FA93BF}" srcOrd="0" destOrd="0" presId="urn:microsoft.com/office/officeart/2005/8/layout/vList2"/>
    <dgm:cxn modelId="{75A7BA2C-E6C4-4D3B-BF3C-B665D07FCB81}" type="presParOf" srcId="{D8EA0F68-31C9-4F75-BFE4-EDAA182A9D96}" destId="{0034732B-4B70-48F2-8D15-BC30D51077CB}" srcOrd="1" destOrd="0" presId="urn:microsoft.com/office/officeart/2005/8/layout/vList2"/>
    <dgm:cxn modelId="{67DB79D3-A476-4536-8DA1-1C21BF5252EF}" type="presParOf" srcId="{D8EA0F68-31C9-4F75-BFE4-EDAA182A9D96}" destId="{11676EF9-E812-484D-BB72-0900F7642984}" srcOrd="2" destOrd="0" presId="urn:microsoft.com/office/officeart/2005/8/layout/vList2"/>
    <dgm:cxn modelId="{AA494C76-5E50-4926-BA63-F7A3DA3A0392}" type="presParOf" srcId="{D8EA0F68-31C9-4F75-BFE4-EDAA182A9D96}" destId="{FB988339-51E5-496E-9212-8B75F45D8E33}" srcOrd="3" destOrd="0" presId="urn:microsoft.com/office/officeart/2005/8/layout/vList2"/>
    <dgm:cxn modelId="{21062B7F-9F06-479F-B7F9-687786830B1C}" type="presParOf" srcId="{D8EA0F68-31C9-4F75-BFE4-EDAA182A9D96}" destId="{FAF4DFB3-6C91-4E49-986E-6D272B1726A2}" srcOrd="4" destOrd="0" presId="urn:microsoft.com/office/officeart/2005/8/layout/vList2"/>
    <dgm:cxn modelId="{C0EF606D-3F77-49BA-B0B8-E7E13A02589E}" type="presParOf" srcId="{D8EA0F68-31C9-4F75-BFE4-EDAA182A9D96}" destId="{9AF9942B-1E93-4971-A369-DE8B72781ED8}" srcOrd="5" destOrd="0" presId="urn:microsoft.com/office/officeart/2005/8/layout/vList2"/>
    <dgm:cxn modelId="{3C2C94B4-C3AB-435C-B20E-C2A858CF5B58}" type="presParOf" srcId="{D8EA0F68-31C9-4F75-BFE4-EDAA182A9D96}" destId="{EA208C51-D629-405E-B811-7E6A988F21A4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AB96A70-91DD-45A4-A2FF-D52535BA8CB2}" type="doc">
      <dgm:prSet loTypeId="urn:microsoft.com/office/officeart/2018/2/layout/IconLabelList" loCatId="icon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1FD58CA4-B806-43E8-8C22-697CEEAC54AE}">
      <dgm:prSet/>
      <dgm:spPr/>
      <dgm:t>
        <a:bodyPr/>
        <a:lstStyle/>
        <a:p>
          <a:pPr>
            <a:lnSpc>
              <a:spcPct val="100000"/>
            </a:lnSpc>
          </a:pPr>
          <a:r>
            <a:rPr lang="nb-NO"/>
            <a:t>Læringsmål og undervisning</a:t>
          </a:r>
          <a:endParaRPr lang="en-US"/>
        </a:p>
      </dgm:t>
    </dgm:pt>
    <dgm:pt modelId="{5661F13B-EB20-4089-8BBA-756061697745}" type="parTrans" cxnId="{4D91938F-E171-4DC1-8BF3-D293E761BDB5}">
      <dgm:prSet/>
      <dgm:spPr/>
      <dgm:t>
        <a:bodyPr/>
        <a:lstStyle/>
        <a:p>
          <a:endParaRPr lang="en-US"/>
        </a:p>
      </dgm:t>
    </dgm:pt>
    <dgm:pt modelId="{3059CA25-3E4A-455D-A843-1749ECB93255}" type="sibTrans" cxnId="{4D91938F-E171-4DC1-8BF3-D293E761BDB5}">
      <dgm:prSet/>
      <dgm:spPr/>
      <dgm:t>
        <a:bodyPr/>
        <a:lstStyle/>
        <a:p>
          <a:endParaRPr lang="en-US"/>
        </a:p>
      </dgm:t>
    </dgm:pt>
    <dgm:pt modelId="{A3CA3522-4E01-4335-8F3A-F4AB9E21E901}">
      <dgm:prSet/>
      <dgm:spPr/>
      <dgm:t>
        <a:bodyPr/>
        <a:lstStyle/>
        <a:p>
          <a:pPr>
            <a:lnSpc>
              <a:spcPct val="100000"/>
            </a:lnSpc>
          </a:pPr>
          <a:r>
            <a:rPr lang="nb-NO"/>
            <a:t>Obligatorisk aktivitet</a:t>
          </a:r>
          <a:endParaRPr lang="en-US"/>
        </a:p>
      </dgm:t>
    </dgm:pt>
    <dgm:pt modelId="{3E9046A0-1B41-43BA-A14E-576A892D129A}" type="parTrans" cxnId="{3AECF6F7-F1EE-4644-B803-2B86F1EEEC64}">
      <dgm:prSet/>
      <dgm:spPr/>
      <dgm:t>
        <a:bodyPr/>
        <a:lstStyle/>
        <a:p>
          <a:endParaRPr lang="en-US"/>
        </a:p>
      </dgm:t>
    </dgm:pt>
    <dgm:pt modelId="{DBD24A7B-84ED-4309-AAB7-1EBC1A8C1CB6}" type="sibTrans" cxnId="{3AECF6F7-F1EE-4644-B803-2B86F1EEEC64}">
      <dgm:prSet/>
      <dgm:spPr/>
      <dgm:t>
        <a:bodyPr/>
        <a:lstStyle/>
        <a:p>
          <a:endParaRPr lang="en-US"/>
        </a:p>
      </dgm:t>
    </dgm:pt>
    <dgm:pt modelId="{152CAD1B-4636-4E56-BCD9-D9F3710A07A0}">
      <dgm:prSet/>
      <dgm:spPr/>
      <dgm:t>
        <a:bodyPr/>
        <a:lstStyle/>
        <a:p>
          <a:pPr>
            <a:lnSpc>
              <a:spcPct val="100000"/>
            </a:lnSpc>
          </a:pPr>
          <a:r>
            <a:rPr lang="nb-NO"/>
            <a:t>Timeplan</a:t>
          </a:r>
          <a:endParaRPr lang="en-US"/>
        </a:p>
      </dgm:t>
    </dgm:pt>
    <dgm:pt modelId="{37D9D55F-1BF1-49BF-AF92-DF5812094C99}" type="parTrans" cxnId="{D2BFA04E-F237-4C44-B9DB-F1C4C9C81D00}">
      <dgm:prSet/>
      <dgm:spPr/>
      <dgm:t>
        <a:bodyPr/>
        <a:lstStyle/>
        <a:p>
          <a:endParaRPr lang="en-US"/>
        </a:p>
      </dgm:t>
    </dgm:pt>
    <dgm:pt modelId="{6375C239-4A96-40BE-95DB-554B811F97FB}" type="sibTrans" cxnId="{D2BFA04E-F237-4C44-B9DB-F1C4C9C81D00}">
      <dgm:prSet/>
      <dgm:spPr/>
      <dgm:t>
        <a:bodyPr/>
        <a:lstStyle/>
        <a:p>
          <a:endParaRPr lang="en-US"/>
        </a:p>
      </dgm:t>
    </dgm:pt>
    <dgm:pt modelId="{A0BA6C72-1E77-435E-B76D-1B927B94115B}">
      <dgm:prSet/>
      <dgm:spPr/>
      <dgm:t>
        <a:bodyPr/>
        <a:lstStyle/>
        <a:p>
          <a:pPr>
            <a:lnSpc>
              <a:spcPct val="100000"/>
            </a:lnSpc>
          </a:pPr>
          <a:r>
            <a:rPr lang="nb-NO" dirty="0"/>
            <a:t>Pensum</a:t>
          </a:r>
          <a:endParaRPr lang="en-US" dirty="0"/>
        </a:p>
      </dgm:t>
    </dgm:pt>
    <dgm:pt modelId="{3FD762B0-934D-43C1-9F73-61FE6071C8AE}" type="parTrans" cxnId="{8F823445-1649-4E2A-9B91-9ED84D265DD3}">
      <dgm:prSet/>
      <dgm:spPr/>
      <dgm:t>
        <a:bodyPr/>
        <a:lstStyle/>
        <a:p>
          <a:endParaRPr lang="en-US"/>
        </a:p>
      </dgm:t>
    </dgm:pt>
    <dgm:pt modelId="{FDBA07A6-F30C-4C5B-B3F4-989AE3FAC35B}" type="sibTrans" cxnId="{8F823445-1649-4E2A-9B91-9ED84D265DD3}">
      <dgm:prSet/>
      <dgm:spPr/>
      <dgm:t>
        <a:bodyPr/>
        <a:lstStyle/>
        <a:p>
          <a:endParaRPr lang="en-US"/>
        </a:p>
      </dgm:t>
    </dgm:pt>
    <dgm:pt modelId="{1A65F1FF-F3A7-4C89-8AA5-ED17031D39C3}">
      <dgm:prSet/>
      <dgm:spPr/>
      <dgm:t>
        <a:bodyPr/>
        <a:lstStyle/>
        <a:p>
          <a:pPr>
            <a:lnSpc>
              <a:spcPct val="100000"/>
            </a:lnSpc>
          </a:pPr>
          <a:r>
            <a:rPr lang="nb-NO"/>
            <a:t>Eksamen</a:t>
          </a:r>
          <a:endParaRPr lang="en-US"/>
        </a:p>
      </dgm:t>
    </dgm:pt>
    <dgm:pt modelId="{252C9E82-B4B9-4237-B6F7-B05856AC5154}" type="parTrans" cxnId="{C2CE58E0-B8BD-43C7-9E59-E5963D2A84EF}">
      <dgm:prSet/>
      <dgm:spPr/>
      <dgm:t>
        <a:bodyPr/>
        <a:lstStyle/>
        <a:p>
          <a:endParaRPr lang="en-US"/>
        </a:p>
      </dgm:t>
    </dgm:pt>
    <dgm:pt modelId="{76DB60FD-80B3-4259-B38C-B5E83D97CF23}" type="sibTrans" cxnId="{C2CE58E0-B8BD-43C7-9E59-E5963D2A84EF}">
      <dgm:prSet/>
      <dgm:spPr/>
      <dgm:t>
        <a:bodyPr/>
        <a:lstStyle/>
        <a:p>
          <a:endParaRPr lang="en-US"/>
        </a:p>
      </dgm:t>
    </dgm:pt>
    <dgm:pt modelId="{1FC40C3E-CC62-4CC2-AC87-8FB004FC6F49}" type="pres">
      <dgm:prSet presAssocID="{5AB96A70-91DD-45A4-A2FF-D52535BA8CB2}" presName="root" presStyleCnt="0">
        <dgm:presLayoutVars>
          <dgm:dir/>
          <dgm:resizeHandles val="exact"/>
        </dgm:presLayoutVars>
      </dgm:prSet>
      <dgm:spPr/>
    </dgm:pt>
    <dgm:pt modelId="{7892E6B0-BA7C-419F-B788-57097E0AE2BA}" type="pres">
      <dgm:prSet presAssocID="{1FD58CA4-B806-43E8-8C22-697CEEAC54AE}" presName="compNode" presStyleCnt="0"/>
      <dgm:spPr/>
    </dgm:pt>
    <dgm:pt modelId="{D405D3F2-3E69-448A-920F-B16216742D28}" type="pres">
      <dgm:prSet presAssocID="{1FD58CA4-B806-43E8-8C22-697CEEAC54AE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Lærer"/>
        </a:ext>
      </dgm:extLst>
    </dgm:pt>
    <dgm:pt modelId="{A3294BB5-494D-4E14-8178-54C5664F64B4}" type="pres">
      <dgm:prSet presAssocID="{1FD58CA4-B806-43E8-8C22-697CEEAC54AE}" presName="spaceRect" presStyleCnt="0"/>
      <dgm:spPr/>
    </dgm:pt>
    <dgm:pt modelId="{4BD96FC0-20E4-4D85-A66D-D244CF2801F7}" type="pres">
      <dgm:prSet presAssocID="{1FD58CA4-B806-43E8-8C22-697CEEAC54AE}" presName="textRect" presStyleLbl="revTx" presStyleIdx="0" presStyleCnt="5">
        <dgm:presLayoutVars>
          <dgm:chMax val="1"/>
          <dgm:chPref val="1"/>
        </dgm:presLayoutVars>
      </dgm:prSet>
      <dgm:spPr/>
    </dgm:pt>
    <dgm:pt modelId="{F6C02670-A8A1-4FCF-83E7-0965FADE998F}" type="pres">
      <dgm:prSet presAssocID="{3059CA25-3E4A-455D-A843-1749ECB93255}" presName="sibTrans" presStyleCnt="0"/>
      <dgm:spPr/>
    </dgm:pt>
    <dgm:pt modelId="{17077827-FF4D-49E1-B5F8-0DC8B3787516}" type="pres">
      <dgm:prSet presAssocID="{A3CA3522-4E01-4335-8F3A-F4AB9E21E901}" presName="compNode" presStyleCnt="0"/>
      <dgm:spPr/>
    </dgm:pt>
    <dgm:pt modelId="{E9D505FF-F1A0-4DB1-A355-D6EAFEDBB100}" type="pres">
      <dgm:prSet presAssocID="{A3CA3522-4E01-4335-8F3A-F4AB9E21E901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vmerking"/>
        </a:ext>
      </dgm:extLst>
    </dgm:pt>
    <dgm:pt modelId="{503B39F0-4212-47E3-966D-1FC16A851342}" type="pres">
      <dgm:prSet presAssocID="{A3CA3522-4E01-4335-8F3A-F4AB9E21E901}" presName="spaceRect" presStyleCnt="0"/>
      <dgm:spPr/>
    </dgm:pt>
    <dgm:pt modelId="{FA0DC879-9535-4AD3-B4FA-54F8067CE89A}" type="pres">
      <dgm:prSet presAssocID="{A3CA3522-4E01-4335-8F3A-F4AB9E21E901}" presName="textRect" presStyleLbl="revTx" presStyleIdx="1" presStyleCnt="5">
        <dgm:presLayoutVars>
          <dgm:chMax val="1"/>
          <dgm:chPref val="1"/>
        </dgm:presLayoutVars>
      </dgm:prSet>
      <dgm:spPr/>
    </dgm:pt>
    <dgm:pt modelId="{A351611C-A7F9-4B5A-83FC-593A5B35BE91}" type="pres">
      <dgm:prSet presAssocID="{DBD24A7B-84ED-4309-AAB7-1EBC1A8C1CB6}" presName="sibTrans" presStyleCnt="0"/>
      <dgm:spPr/>
    </dgm:pt>
    <dgm:pt modelId="{1975A287-DDEC-4B31-81D1-B2EEEDDE4E6C}" type="pres">
      <dgm:prSet presAssocID="{152CAD1B-4636-4E56-BCD9-D9F3710A07A0}" presName="compNode" presStyleCnt="0"/>
      <dgm:spPr/>
    </dgm:pt>
    <dgm:pt modelId="{8998B8AF-E280-42FE-B63F-28582F01592B}" type="pres">
      <dgm:prSet presAssocID="{152CAD1B-4636-4E56-BCD9-D9F3710A07A0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ily Calendar"/>
        </a:ext>
      </dgm:extLst>
    </dgm:pt>
    <dgm:pt modelId="{4DD21BC4-2D98-4739-8093-0D651319B64E}" type="pres">
      <dgm:prSet presAssocID="{152CAD1B-4636-4E56-BCD9-D9F3710A07A0}" presName="spaceRect" presStyleCnt="0"/>
      <dgm:spPr/>
    </dgm:pt>
    <dgm:pt modelId="{80C15BF1-73E7-43DB-B222-2254E83349FD}" type="pres">
      <dgm:prSet presAssocID="{152CAD1B-4636-4E56-BCD9-D9F3710A07A0}" presName="textRect" presStyleLbl="revTx" presStyleIdx="2" presStyleCnt="5">
        <dgm:presLayoutVars>
          <dgm:chMax val="1"/>
          <dgm:chPref val="1"/>
        </dgm:presLayoutVars>
      </dgm:prSet>
      <dgm:spPr/>
    </dgm:pt>
    <dgm:pt modelId="{6F1F3893-3E63-458E-9DD3-9F31A533EC55}" type="pres">
      <dgm:prSet presAssocID="{6375C239-4A96-40BE-95DB-554B811F97FB}" presName="sibTrans" presStyleCnt="0"/>
      <dgm:spPr/>
    </dgm:pt>
    <dgm:pt modelId="{94635E24-79E1-4BC4-A50D-B22BEC570D94}" type="pres">
      <dgm:prSet presAssocID="{A0BA6C72-1E77-435E-B76D-1B927B94115B}" presName="compNode" presStyleCnt="0"/>
      <dgm:spPr/>
    </dgm:pt>
    <dgm:pt modelId="{2F25126D-C3F8-43C1-805F-8EDE505893E7}" type="pres">
      <dgm:prSet presAssocID="{A0BA6C72-1E77-435E-B76D-1B927B94115B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øker med heldekkende fyll"/>
        </a:ext>
      </dgm:extLst>
    </dgm:pt>
    <dgm:pt modelId="{4EA9ED7C-5615-441D-9BD5-AEE3422A87A0}" type="pres">
      <dgm:prSet presAssocID="{A0BA6C72-1E77-435E-B76D-1B927B94115B}" presName="spaceRect" presStyleCnt="0"/>
      <dgm:spPr/>
    </dgm:pt>
    <dgm:pt modelId="{BCEC486D-3275-4B2F-86FE-541907AF994E}" type="pres">
      <dgm:prSet presAssocID="{A0BA6C72-1E77-435E-B76D-1B927B94115B}" presName="textRect" presStyleLbl="revTx" presStyleIdx="3" presStyleCnt="5">
        <dgm:presLayoutVars>
          <dgm:chMax val="1"/>
          <dgm:chPref val="1"/>
        </dgm:presLayoutVars>
      </dgm:prSet>
      <dgm:spPr/>
    </dgm:pt>
    <dgm:pt modelId="{4578DC11-9E6E-4BC3-952C-5485136D66B5}" type="pres">
      <dgm:prSet presAssocID="{FDBA07A6-F30C-4C5B-B3F4-989AE3FAC35B}" presName="sibTrans" presStyleCnt="0"/>
      <dgm:spPr/>
    </dgm:pt>
    <dgm:pt modelId="{8B515085-6F79-4C51-96FE-2A584A44B343}" type="pres">
      <dgm:prSet presAssocID="{1A65F1FF-F3A7-4C89-8AA5-ED17031D39C3}" presName="compNode" presStyleCnt="0"/>
      <dgm:spPr/>
    </dgm:pt>
    <dgm:pt modelId="{FBE63B73-B17C-4D7A-85D8-D004F4D2526B}" type="pres">
      <dgm:prSet presAssocID="{1A65F1FF-F3A7-4C89-8AA5-ED17031D39C3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iplomrull med heldekkende fyll"/>
        </a:ext>
      </dgm:extLst>
    </dgm:pt>
    <dgm:pt modelId="{70B5BF65-73CB-428C-B77D-C9716C8089EE}" type="pres">
      <dgm:prSet presAssocID="{1A65F1FF-F3A7-4C89-8AA5-ED17031D39C3}" presName="spaceRect" presStyleCnt="0"/>
      <dgm:spPr/>
    </dgm:pt>
    <dgm:pt modelId="{F7F3CE93-89C1-4409-AC78-C7BC151D8345}" type="pres">
      <dgm:prSet presAssocID="{1A65F1FF-F3A7-4C89-8AA5-ED17031D39C3}" presName="textRect" presStyleLbl="revTx" presStyleIdx="4" presStyleCnt="5">
        <dgm:presLayoutVars>
          <dgm:chMax val="1"/>
          <dgm:chPref val="1"/>
        </dgm:presLayoutVars>
      </dgm:prSet>
      <dgm:spPr/>
    </dgm:pt>
  </dgm:ptLst>
  <dgm:cxnLst>
    <dgm:cxn modelId="{38BF6902-200B-44F6-8593-8C4474388A16}" type="presOf" srcId="{A0BA6C72-1E77-435E-B76D-1B927B94115B}" destId="{BCEC486D-3275-4B2F-86FE-541907AF994E}" srcOrd="0" destOrd="0" presId="urn:microsoft.com/office/officeart/2018/2/layout/IconLabelList"/>
    <dgm:cxn modelId="{8F823445-1649-4E2A-9B91-9ED84D265DD3}" srcId="{5AB96A70-91DD-45A4-A2FF-D52535BA8CB2}" destId="{A0BA6C72-1E77-435E-B76D-1B927B94115B}" srcOrd="3" destOrd="0" parTransId="{3FD762B0-934D-43C1-9F73-61FE6071C8AE}" sibTransId="{FDBA07A6-F30C-4C5B-B3F4-989AE3FAC35B}"/>
    <dgm:cxn modelId="{D2BFA04E-F237-4C44-B9DB-F1C4C9C81D00}" srcId="{5AB96A70-91DD-45A4-A2FF-D52535BA8CB2}" destId="{152CAD1B-4636-4E56-BCD9-D9F3710A07A0}" srcOrd="2" destOrd="0" parTransId="{37D9D55F-1BF1-49BF-AF92-DF5812094C99}" sibTransId="{6375C239-4A96-40BE-95DB-554B811F97FB}"/>
    <dgm:cxn modelId="{FB2EA34E-6A30-481E-A4E0-3513EBF80C57}" type="presOf" srcId="{5AB96A70-91DD-45A4-A2FF-D52535BA8CB2}" destId="{1FC40C3E-CC62-4CC2-AC87-8FB004FC6F49}" srcOrd="0" destOrd="0" presId="urn:microsoft.com/office/officeart/2018/2/layout/IconLabelList"/>
    <dgm:cxn modelId="{4D91938F-E171-4DC1-8BF3-D293E761BDB5}" srcId="{5AB96A70-91DD-45A4-A2FF-D52535BA8CB2}" destId="{1FD58CA4-B806-43E8-8C22-697CEEAC54AE}" srcOrd="0" destOrd="0" parTransId="{5661F13B-EB20-4089-8BBA-756061697745}" sibTransId="{3059CA25-3E4A-455D-A843-1749ECB93255}"/>
    <dgm:cxn modelId="{1FC30FA8-3E2D-449C-B5A3-BE391C26E53D}" type="presOf" srcId="{1A65F1FF-F3A7-4C89-8AA5-ED17031D39C3}" destId="{F7F3CE93-89C1-4409-AC78-C7BC151D8345}" srcOrd="0" destOrd="0" presId="urn:microsoft.com/office/officeart/2018/2/layout/IconLabelList"/>
    <dgm:cxn modelId="{D2F842BB-3265-44EC-8C1B-2C633E7B2D0C}" type="presOf" srcId="{1FD58CA4-B806-43E8-8C22-697CEEAC54AE}" destId="{4BD96FC0-20E4-4D85-A66D-D244CF2801F7}" srcOrd="0" destOrd="0" presId="urn:microsoft.com/office/officeart/2018/2/layout/IconLabelList"/>
    <dgm:cxn modelId="{CDA842CB-58A9-432D-B7BC-28ED89891F0D}" type="presOf" srcId="{A3CA3522-4E01-4335-8F3A-F4AB9E21E901}" destId="{FA0DC879-9535-4AD3-B4FA-54F8067CE89A}" srcOrd="0" destOrd="0" presId="urn:microsoft.com/office/officeart/2018/2/layout/IconLabelList"/>
    <dgm:cxn modelId="{D5B268D0-0D69-4825-87F1-EF905CE236B8}" type="presOf" srcId="{152CAD1B-4636-4E56-BCD9-D9F3710A07A0}" destId="{80C15BF1-73E7-43DB-B222-2254E83349FD}" srcOrd="0" destOrd="0" presId="urn:microsoft.com/office/officeart/2018/2/layout/IconLabelList"/>
    <dgm:cxn modelId="{C2CE58E0-B8BD-43C7-9E59-E5963D2A84EF}" srcId="{5AB96A70-91DD-45A4-A2FF-D52535BA8CB2}" destId="{1A65F1FF-F3A7-4C89-8AA5-ED17031D39C3}" srcOrd="4" destOrd="0" parTransId="{252C9E82-B4B9-4237-B6F7-B05856AC5154}" sibTransId="{76DB60FD-80B3-4259-B38C-B5E83D97CF23}"/>
    <dgm:cxn modelId="{3AECF6F7-F1EE-4644-B803-2B86F1EEEC64}" srcId="{5AB96A70-91DD-45A4-A2FF-D52535BA8CB2}" destId="{A3CA3522-4E01-4335-8F3A-F4AB9E21E901}" srcOrd="1" destOrd="0" parTransId="{3E9046A0-1B41-43BA-A14E-576A892D129A}" sibTransId="{DBD24A7B-84ED-4309-AAB7-1EBC1A8C1CB6}"/>
    <dgm:cxn modelId="{69C9B28C-AFAD-43B6-9690-03D862363E54}" type="presParOf" srcId="{1FC40C3E-CC62-4CC2-AC87-8FB004FC6F49}" destId="{7892E6B0-BA7C-419F-B788-57097E0AE2BA}" srcOrd="0" destOrd="0" presId="urn:microsoft.com/office/officeart/2018/2/layout/IconLabelList"/>
    <dgm:cxn modelId="{FFDA748B-4421-471F-8437-F038D98CC204}" type="presParOf" srcId="{7892E6B0-BA7C-419F-B788-57097E0AE2BA}" destId="{D405D3F2-3E69-448A-920F-B16216742D28}" srcOrd="0" destOrd="0" presId="urn:microsoft.com/office/officeart/2018/2/layout/IconLabelList"/>
    <dgm:cxn modelId="{40A0B17D-A077-4D54-A77B-1356A23BE53C}" type="presParOf" srcId="{7892E6B0-BA7C-419F-B788-57097E0AE2BA}" destId="{A3294BB5-494D-4E14-8178-54C5664F64B4}" srcOrd="1" destOrd="0" presId="urn:microsoft.com/office/officeart/2018/2/layout/IconLabelList"/>
    <dgm:cxn modelId="{04D21414-07A4-485B-8203-D87B79BFDA09}" type="presParOf" srcId="{7892E6B0-BA7C-419F-B788-57097E0AE2BA}" destId="{4BD96FC0-20E4-4D85-A66D-D244CF2801F7}" srcOrd="2" destOrd="0" presId="urn:microsoft.com/office/officeart/2018/2/layout/IconLabelList"/>
    <dgm:cxn modelId="{9CC980BF-73BC-4A95-A4B5-0192CA512305}" type="presParOf" srcId="{1FC40C3E-CC62-4CC2-AC87-8FB004FC6F49}" destId="{F6C02670-A8A1-4FCF-83E7-0965FADE998F}" srcOrd="1" destOrd="0" presId="urn:microsoft.com/office/officeart/2018/2/layout/IconLabelList"/>
    <dgm:cxn modelId="{D8620D3C-A4E5-480F-837A-B35E4432D61A}" type="presParOf" srcId="{1FC40C3E-CC62-4CC2-AC87-8FB004FC6F49}" destId="{17077827-FF4D-49E1-B5F8-0DC8B3787516}" srcOrd="2" destOrd="0" presId="urn:microsoft.com/office/officeart/2018/2/layout/IconLabelList"/>
    <dgm:cxn modelId="{169ADDB0-9A0E-44C6-869B-B0D11539A2A8}" type="presParOf" srcId="{17077827-FF4D-49E1-B5F8-0DC8B3787516}" destId="{E9D505FF-F1A0-4DB1-A355-D6EAFEDBB100}" srcOrd="0" destOrd="0" presId="urn:microsoft.com/office/officeart/2018/2/layout/IconLabelList"/>
    <dgm:cxn modelId="{41378C6D-2295-42AF-B19B-B37A729A93A3}" type="presParOf" srcId="{17077827-FF4D-49E1-B5F8-0DC8B3787516}" destId="{503B39F0-4212-47E3-966D-1FC16A851342}" srcOrd="1" destOrd="0" presId="urn:microsoft.com/office/officeart/2018/2/layout/IconLabelList"/>
    <dgm:cxn modelId="{47B51188-B930-4F9F-98C8-74224AAFE4A8}" type="presParOf" srcId="{17077827-FF4D-49E1-B5F8-0DC8B3787516}" destId="{FA0DC879-9535-4AD3-B4FA-54F8067CE89A}" srcOrd="2" destOrd="0" presId="urn:microsoft.com/office/officeart/2018/2/layout/IconLabelList"/>
    <dgm:cxn modelId="{F430F55A-B6C9-430F-9F27-264C9F93444B}" type="presParOf" srcId="{1FC40C3E-CC62-4CC2-AC87-8FB004FC6F49}" destId="{A351611C-A7F9-4B5A-83FC-593A5B35BE91}" srcOrd="3" destOrd="0" presId="urn:microsoft.com/office/officeart/2018/2/layout/IconLabelList"/>
    <dgm:cxn modelId="{F7025C29-B01C-40B4-922A-9401DB412BE9}" type="presParOf" srcId="{1FC40C3E-CC62-4CC2-AC87-8FB004FC6F49}" destId="{1975A287-DDEC-4B31-81D1-B2EEEDDE4E6C}" srcOrd="4" destOrd="0" presId="urn:microsoft.com/office/officeart/2018/2/layout/IconLabelList"/>
    <dgm:cxn modelId="{FAD68E30-DB2D-460A-BAA4-58492DDF5EB3}" type="presParOf" srcId="{1975A287-DDEC-4B31-81D1-B2EEEDDE4E6C}" destId="{8998B8AF-E280-42FE-B63F-28582F01592B}" srcOrd="0" destOrd="0" presId="urn:microsoft.com/office/officeart/2018/2/layout/IconLabelList"/>
    <dgm:cxn modelId="{9BBE556F-85CB-45F6-8D5F-F1A13DE03211}" type="presParOf" srcId="{1975A287-DDEC-4B31-81D1-B2EEEDDE4E6C}" destId="{4DD21BC4-2D98-4739-8093-0D651319B64E}" srcOrd="1" destOrd="0" presId="urn:microsoft.com/office/officeart/2018/2/layout/IconLabelList"/>
    <dgm:cxn modelId="{FFB1AD4A-7502-49D3-A855-076DA8F5DB6B}" type="presParOf" srcId="{1975A287-DDEC-4B31-81D1-B2EEEDDE4E6C}" destId="{80C15BF1-73E7-43DB-B222-2254E83349FD}" srcOrd="2" destOrd="0" presId="urn:microsoft.com/office/officeart/2018/2/layout/IconLabelList"/>
    <dgm:cxn modelId="{3DFD712C-41A0-4504-A2BD-FCE624103C6A}" type="presParOf" srcId="{1FC40C3E-CC62-4CC2-AC87-8FB004FC6F49}" destId="{6F1F3893-3E63-458E-9DD3-9F31A533EC55}" srcOrd="5" destOrd="0" presId="urn:microsoft.com/office/officeart/2018/2/layout/IconLabelList"/>
    <dgm:cxn modelId="{973CCF64-94FE-4AE9-9262-9ECD6E3B9426}" type="presParOf" srcId="{1FC40C3E-CC62-4CC2-AC87-8FB004FC6F49}" destId="{94635E24-79E1-4BC4-A50D-B22BEC570D94}" srcOrd="6" destOrd="0" presId="urn:microsoft.com/office/officeart/2018/2/layout/IconLabelList"/>
    <dgm:cxn modelId="{DABA7CC3-1DA4-4224-BE0E-279F45BC34E2}" type="presParOf" srcId="{94635E24-79E1-4BC4-A50D-B22BEC570D94}" destId="{2F25126D-C3F8-43C1-805F-8EDE505893E7}" srcOrd="0" destOrd="0" presId="urn:microsoft.com/office/officeart/2018/2/layout/IconLabelList"/>
    <dgm:cxn modelId="{335AC866-3CF8-4D4D-A52B-27A240FF8858}" type="presParOf" srcId="{94635E24-79E1-4BC4-A50D-B22BEC570D94}" destId="{4EA9ED7C-5615-441D-9BD5-AEE3422A87A0}" srcOrd="1" destOrd="0" presId="urn:microsoft.com/office/officeart/2018/2/layout/IconLabelList"/>
    <dgm:cxn modelId="{9C62C8CE-4C8A-4690-87B5-2E500F3156B9}" type="presParOf" srcId="{94635E24-79E1-4BC4-A50D-B22BEC570D94}" destId="{BCEC486D-3275-4B2F-86FE-541907AF994E}" srcOrd="2" destOrd="0" presId="urn:microsoft.com/office/officeart/2018/2/layout/IconLabelList"/>
    <dgm:cxn modelId="{D15F627C-C3CB-40C0-BB17-ED1279989023}" type="presParOf" srcId="{1FC40C3E-CC62-4CC2-AC87-8FB004FC6F49}" destId="{4578DC11-9E6E-4BC3-952C-5485136D66B5}" srcOrd="7" destOrd="0" presId="urn:microsoft.com/office/officeart/2018/2/layout/IconLabelList"/>
    <dgm:cxn modelId="{7F0398A6-0FBC-471F-8944-5B9D0958651E}" type="presParOf" srcId="{1FC40C3E-CC62-4CC2-AC87-8FB004FC6F49}" destId="{8B515085-6F79-4C51-96FE-2A584A44B343}" srcOrd="8" destOrd="0" presId="urn:microsoft.com/office/officeart/2018/2/layout/IconLabelList"/>
    <dgm:cxn modelId="{5FF62808-AB48-4796-BCBF-328B252078AD}" type="presParOf" srcId="{8B515085-6F79-4C51-96FE-2A584A44B343}" destId="{FBE63B73-B17C-4D7A-85D8-D004F4D2526B}" srcOrd="0" destOrd="0" presId="urn:microsoft.com/office/officeart/2018/2/layout/IconLabelList"/>
    <dgm:cxn modelId="{8303407B-EB96-43BE-89DE-1AC589A39D93}" type="presParOf" srcId="{8B515085-6F79-4C51-96FE-2A584A44B343}" destId="{70B5BF65-73CB-428C-B77D-C9716C8089EE}" srcOrd="1" destOrd="0" presId="urn:microsoft.com/office/officeart/2018/2/layout/IconLabelList"/>
    <dgm:cxn modelId="{460D61BA-2B81-4116-80E3-04226345EE79}" type="presParOf" srcId="{8B515085-6F79-4C51-96FE-2A584A44B343}" destId="{F7F3CE93-89C1-4409-AC78-C7BC151D8345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37DEB66-D8E4-4976-9263-2DC046E5144B}" type="doc">
      <dgm:prSet loTypeId="urn:microsoft.com/office/officeart/2005/8/layout/target3" loCatId="relationship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en-GB"/>
        </a:p>
      </dgm:t>
    </dgm:pt>
    <dgm:pt modelId="{1DF4D11D-6385-4C8A-8AEB-6B3E49CF08A9}">
      <dgm:prSet/>
      <dgm:spPr/>
      <dgm:t>
        <a:bodyPr/>
        <a:lstStyle/>
        <a:p>
          <a:r>
            <a:rPr lang="en-US" dirty="0"/>
            <a:t>Les </a:t>
          </a:r>
          <a:r>
            <a:rPr lang="en-US" dirty="0" err="1"/>
            <a:t>emnebeskrivelser</a:t>
          </a:r>
          <a:r>
            <a:rPr lang="en-US" dirty="0"/>
            <a:t> </a:t>
          </a:r>
          <a:r>
            <a:rPr lang="en-US" dirty="0" err="1"/>
            <a:t>og</a:t>
          </a:r>
          <a:r>
            <a:rPr lang="en-US" dirty="0"/>
            <a:t> </a:t>
          </a:r>
          <a:r>
            <a:rPr lang="en-US" dirty="0" err="1"/>
            <a:t>semestersider</a:t>
          </a:r>
          <a:r>
            <a:rPr lang="en-US" dirty="0"/>
            <a:t> </a:t>
          </a:r>
          <a:r>
            <a:rPr lang="en-US" dirty="0" err="1"/>
            <a:t>nøye</a:t>
          </a:r>
          <a:r>
            <a:rPr lang="en-US" dirty="0"/>
            <a:t> </a:t>
          </a:r>
          <a:r>
            <a:rPr lang="en-US" dirty="0" err="1"/>
            <a:t>hvert</a:t>
          </a:r>
          <a:r>
            <a:rPr lang="en-US" dirty="0"/>
            <a:t> semester– </a:t>
          </a:r>
          <a:r>
            <a:rPr lang="en-US" dirty="0" err="1"/>
            <a:t>før</a:t>
          </a:r>
          <a:r>
            <a:rPr lang="en-US" dirty="0"/>
            <a:t> </a:t>
          </a:r>
          <a:r>
            <a:rPr lang="en-US" dirty="0" err="1"/>
            <a:t>undervisningen</a:t>
          </a:r>
          <a:r>
            <a:rPr lang="en-US" dirty="0"/>
            <a:t> </a:t>
          </a:r>
          <a:r>
            <a:rPr lang="en-US" dirty="0" err="1"/>
            <a:t>begynner</a:t>
          </a:r>
          <a:r>
            <a:rPr lang="en-US" dirty="0"/>
            <a:t>.</a:t>
          </a:r>
          <a:endParaRPr lang="en-GB" dirty="0"/>
        </a:p>
      </dgm:t>
    </dgm:pt>
    <dgm:pt modelId="{B7695DB1-A1EB-4C4D-9193-841A66CA3A72}" type="parTrans" cxnId="{AFD9BD04-6D48-4248-9619-2EB7706665CB}">
      <dgm:prSet/>
      <dgm:spPr/>
      <dgm:t>
        <a:bodyPr/>
        <a:lstStyle/>
        <a:p>
          <a:endParaRPr lang="en-GB"/>
        </a:p>
      </dgm:t>
    </dgm:pt>
    <dgm:pt modelId="{B72ED70F-BC9D-44D1-B56D-F936961D9CFC}" type="sibTrans" cxnId="{AFD9BD04-6D48-4248-9619-2EB7706665CB}">
      <dgm:prSet/>
      <dgm:spPr/>
      <dgm:t>
        <a:bodyPr/>
        <a:lstStyle/>
        <a:p>
          <a:endParaRPr lang="en-GB"/>
        </a:p>
      </dgm:t>
    </dgm:pt>
    <dgm:pt modelId="{5D477DF4-F2F7-4E2A-946E-B4BA64D58295}" type="pres">
      <dgm:prSet presAssocID="{E37DEB66-D8E4-4976-9263-2DC046E5144B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C3473498-CDB2-407A-A9B6-ADED23BF3900}" type="pres">
      <dgm:prSet presAssocID="{1DF4D11D-6385-4C8A-8AEB-6B3E49CF08A9}" presName="circle1" presStyleLbl="node1" presStyleIdx="0" presStyleCnt="1"/>
      <dgm:spPr/>
    </dgm:pt>
    <dgm:pt modelId="{C786E731-28CD-4F65-9004-4B57FB1DF3E2}" type="pres">
      <dgm:prSet presAssocID="{1DF4D11D-6385-4C8A-8AEB-6B3E49CF08A9}" presName="space" presStyleCnt="0"/>
      <dgm:spPr/>
    </dgm:pt>
    <dgm:pt modelId="{C9644ADE-89B7-46BD-AB85-EC57624C54E6}" type="pres">
      <dgm:prSet presAssocID="{1DF4D11D-6385-4C8A-8AEB-6B3E49CF08A9}" presName="rect1" presStyleLbl="alignAcc1" presStyleIdx="0" presStyleCnt="1" custLinFactNeighborX="278" custLinFactNeighborY="-353"/>
      <dgm:spPr/>
    </dgm:pt>
    <dgm:pt modelId="{5857F917-0EAD-45A4-9374-B9030997A0E9}" type="pres">
      <dgm:prSet presAssocID="{1DF4D11D-6385-4C8A-8AEB-6B3E49CF08A9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AFD9BD04-6D48-4248-9619-2EB7706665CB}" srcId="{E37DEB66-D8E4-4976-9263-2DC046E5144B}" destId="{1DF4D11D-6385-4C8A-8AEB-6B3E49CF08A9}" srcOrd="0" destOrd="0" parTransId="{B7695DB1-A1EB-4C4D-9193-841A66CA3A72}" sibTransId="{B72ED70F-BC9D-44D1-B56D-F936961D9CFC}"/>
    <dgm:cxn modelId="{B463E91A-997C-467D-8B5A-941A58C108DB}" type="presOf" srcId="{1DF4D11D-6385-4C8A-8AEB-6B3E49CF08A9}" destId="{5857F917-0EAD-45A4-9374-B9030997A0E9}" srcOrd="1" destOrd="0" presId="urn:microsoft.com/office/officeart/2005/8/layout/target3"/>
    <dgm:cxn modelId="{8F5E3A66-2D97-4BFC-A9FB-E5DA98277061}" type="presOf" srcId="{1DF4D11D-6385-4C8A-8AEB-6B3E49CF08A9}" destId="{C9644ADE-89B7-46BD-AB85-EC57624C54E6}" srcOrd="0" destOrd="0" presId="urn:microsoft.com/office/officeart/2005/8/layout/target3"/>
    <dgm:cxn modelId="{73EA9B51-7A2D-43CE-9705-96BB62DA1722}" type="presOf" srcId="{E37DEB66-D8E4-4976-9263-2DC046E5144B}" destId="{5D477DF4-F2F7-4E2A-946E-B4BA64D58295}" srcOrd="0" destOrd="0" presId="urn:microsoft.com/office/officeart/2005/8/layout/target3"/>
    <dgm:cxn modelId="{4BA3A9B0-F217-4B46-A9FB-7DCBBF27DFEC}" type="presParOf" srcId="{5D477DF4-F2F7-4E2A-946E-B4BA64D58295}" destId="{C3473498-CDB2-407A-A9B6-ADED23BF3900}" srcOrd="0" destOrd="0" presId="urn:microsoft.com/office/officeart/2005/8/layout/target3"/>
    <dgm:cxn modelId="{85EBBBB3-CE0D-4C95-B563-F38A7E85D84D}" type="presParOf" srcId="{5D477DF4-F2F7-4E2A-946E-B4BA64D58295}" destId="{C786E731-28CD-4F65-9004-4B57FB1DF3E2}" srcOrd="1" destOrd="0" presId="urn:microsoft.com/office/officeart/2005/8/layout/target3"/>
    <dgm:cxn modelId="{AD5A205D-3894-4028-882D-20F3A5BE2935}" type="presParOf" srcId="{5D477DF4-F2F7-4E2A-946E-B4BA64D58295}" destId="{C9644ADE-89B7-46BD-AB85-EC57624C54E6}" srcOrd="2" destOrd="0" presId="urn:microsoft.com/office/officeart/2005/8/layout/target3"/>
    <dgm:cxn modelId="{A8BB213C-CD96-4BEB-9342-03416D42B16D}" type="presParOf" srcId="{5D477DF4-F2F7-4E2A-946E-B4BA64D58295}" destId="{5857F917-0EAD-45A4-9374-B9030997A0E9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32C48E0-830C-4234-A416-209B17E3FFEF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5D6CEC4E-F41E-4C46-9E54-1FF18C9DF782}">
      <dgm:prSet/>
      <dgm:spPr/>
      <dgm:t>
        <a:bodyPr/>
        <a:lstStyle/>
        <a:p>
          <a:pPr>
            <a:lnSpc>
              <a:spcPct val="100000"/>
            </a:lnSpc>
          </a:pPr>
          <a:r>
            <a:rPr lang="nb-NO" dirty="0"/>
            <a:t>Oppmelding til emner – frist 17. august</a:t>
          </a:r>
          <a:endParaRPr lang="en-US" dirty="0"/>
        </a:p>
      </dgm:t>
    </dgm:pt>
    <dgm:pt modelId="{C981BAFD-41D8-432B-8C5D-724D5F2677B6}" type="parTrans" cxnId="{B8143C23-6DE1-43FD-A78C-744AFEAF1528}">
      <dgm:prSet/>
      <dgm:spPr/>
      <dgm:t>
        <a:bodyPr/>
        <a:lstStyle/>
        <a:p>
          <a:endParaRPr lang="en-US"/>
        </a:p>
      </dgm:t>
    </dgm:pt>
    <dgm:pt modelId="{E32E56F9-5FAD-4180-A035-A9CD4DF502E9}" type="sibTrans" cxnId="{B8143C23-6DE1-43FD-A78C-744AFEAF1528}">
      <dgm:prSet/>
      <dgm:spPr/>
      <dgm:t>
        <a:bodyPr/>
        <a:lstStyle/>
        <a:p>
          <a:endParaRPr lang="en-US"/>
        </a:p>
      </dgm:t>
    </dgm:pt>
    <dgm:pt modelId="{67D20824-9E41-4AD3-ABF5-9B0EE17D7290}">
      <dgm:prSet/>
      <dgm:spPr/>
      <dgm:t>
        <a:bodyPr/>
        <a:lstStyle/>
        <a:p>
          <a:pPr>
            <a:lnSpc>
              <a:spcPct val="100000"/>
            </a:lnSpc>
          </a:pPr>
          <a:r>
            <a:rPr lang="nb-NO" dirty="0"/>
            <a:t>Betale semesteravgift – frist 1. september</a:t>
          </a:r>
          <a:endParaRPr lang="en-US" dirty="0"/>
        </a:p>
      </dgm:t>
    </dgm:pt>
    <dgm:pt modelId="{7F5D7D2D-9C4B-47A7-A39B-F82B456332BB}" type="parTrans" cxnId="{3FBF6826-28EE-4EE5-964F-B92DFA80F46B}">
      <dgm:prSet/>
      <dgm:spPr/>
      <dgm:t>
        <a:bodyPr/>
        <a:lstStyle/>
        <a:p>
          <a:endParaRPr lang="en-US"/>
        </a:p>
      </dgm:t>
    </dgm:pt>
    <dgm:pt modelId="{FCBD3CED-F0A9-401F-8A8C-0B8B2C133B70}" type="sibTrans" cxnId="{3FBF6826-28EE-4EE5-964F-B92DFA80F46B}">
      <dgm:prSet/>
      <dgm:spPr/>
      <dgm:t>
        <a:bodyPr/>
        <a:lstStyle/>
        <a:p>
          <a:endParaRPr lang="en-US"/>
        </a:p>
      </dgm:t>
    </dgm:pt>
    <dgm:pt modelId="{99AA4125-BC47-4F4E-ABD1-E7D0F9F5DAE5}">
      <dgm:prSet/>
      <dgm:spPr/>
      <dgm:t>
        <a:bodyPr/>
        <a:lstStyle/>
        <a:p>
          <a:pPr>
            <a:lnSpc>
              <a:spcPct val="100000"/>
            </a:lnSpc>
          </a:pPr>
          <a:r>
            <a:rPr lang="nb-NO" dirty="0" err="1"/>
            <a:t>Eksamensesultater</a:t>
          </a:r>
          <a:r>
            <a:rPr lang="nb-NO" dirty="0"/>
            <a:t> og karakterer</a:t>
          </a:r>
          <a:endParaRPr lang="en-US" dirty="0"/>
        </a:p>
      </dgm:t>
    </dgm:pt>
    <dgm:pt modelId="{F47B073C-C73E-4852-9E36-7F1CB98E1C29}" type="parTrans" cxnId="{3D570D26-DE53-43F7-A9B5-81AFBB12E585}">
      <dgm:prSet/>
      <dgm:spPr/>
      <dgm:t>
        <a:bodyPr/>
        <a:lstStyle/>
        <a:p>
          <a:endParaRPr lang="en-US"/>
        </a:p>
      </dgm:t>
    </dgm:pt>
    <dgm:pt modelId="{EB12C8AB-3661-4D0C-BE30-2DFAF332EF1F}" type="sibTrans" cxnId="{3D570D26-DE53-43F7-A9B5-81AFBB12E585}">
      <dgm:prSet/>
      <dgm:spPr/>
      <dgm:t>
        <a:bodyPr/>
        <a:lstStyle/>
        <a:p>
          <a:endParaRPr lang="en-US"/>
        </a:p>
      </dgm:t>
    </dgm:pt>
    <dgm:pt modelId="{99EFACB8-0E4C-476A-B798-E500FE19AC87}">
      <dgm:prSet/>
      <dgm:spPr/>
      <dgm:t>
        <a:bodyPr/>
        <a:lstStyle/>
        <a:p>
          <a:pPr>
            <a:lnSpc>
              <a:spcPct val="100000"/>
            </a:lnSpc>
          </a:pPr>
          <a:r>
            <a:rPr lang="nb-NO"/>
            <a:t>Formelle beskjeder</a:t>
          </a:r>
          <a:endParaRPr lang="en-US"/>
        </a:p>
      </dgm:t>
    </dgm:pt>
    <dgm:pt modelId="{0758F239-A4CE-4D89-932B-ECDB9B5AE514}" type="parTrans" cxnId="{9BC3F0FD-4877-453C-A1A9-3820326AA522}">
      <dgm:prSet/>
      <dgm:spPr/>
      <dgm:t>
        <a:bodyPr/>
        <a:lstStyle/>
        <a:p>
          <a:endParaRPr lang="en-US"/>
        </a:p>
      </dgm:t>
    </dgm:pt>
    <dgm:pt modelId="{42864D06-CA03-4971-9FB4-F926425C6092}" type="sibTrans" cxnId="{9BC3F0FD-4877-453C-A1A9-3820326AA522}">
      <dgm:prSet/>
      <dgm:spPr/>
      <dgm:t>
        <a:bodyPr/>
        <a:lstStyle/>
        <a:p>
          <a:endParaRPr lang="en-US"/>
        </a:p>
      </dgm:t>
    </dgm:pt>
    <dgm:pt modelId="{20FD7FEC-4E8F-418C-9BE1-C487A1A71A00}" type="pres">
      <dgm:prSet presAssocID="{D32C48E0-830C-4234-A416-209B17E3FFEF}" presName="root" presStyleCnt="0">
        <dgm:presLayoutVars>
          <dgm:dir/>
          <dgm:resizeHandles val="exact"/>
        </dgm:presLayoutVars>
      </dgm:prSet>
      <dgm:spPr/>
    </dgm:pt>
    <dgm:pt modelId="{0AE0BDC0-4E1A-4515-A094-3C9CD2E134CA}" type="pres">
      <dgm:prSet presAssocID="{5D6CEC4E-F41E-4C46-9E54-1FF18C9DF782}" presName="compNode" presStyleCnt="0"/>
      <dgm:spPr/>
    </dgm:pt>
    <dgm:pt modelId="{86E4E0AA-B748-4128-93ED-353E364B727F}" type="pres">
      <dgm:prSet presAssocID="{5D6CEC4E-F41E-4C46-9E54-1FF18C9DF782}" presName="bgRect" presStyleLbl="bgShp" presStyleIdx="0" presStyleCnt="4"/>
      <dgm:spPr/>
    </dgm:pt>
    <dgm:pt modelId="{9199A633-7A54-4BC1-A31D-CCE305C89A1F}" type="pres">
      <dgm:prSet presAssocID="{5D6CEC4E-F41E-4C46-9E54-1FF18C9DF782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vmerking"/>
        </a:ext>
      </dgm:extLst>
    </dgm:pt>
    <dgm:pt modelId="{414F15C7-DD32-49EC-ADEC-B1C6C91E54B3}" type="pres">
      <dgm:prSet presAssocID="{5D6CEC4E-F41E-4C46-9E54-1FF18C9DF782}" presName="spaceRect" presStyleCnt="0"/>
      <dgm:spPr/>
    </dgm:pt>
    <dgm:pt modelId="{75250449-CA63-4385-9D23-F987D864CBED}" type="pres">
      <dgm:prSet presAssocID="{5D6CEC4E-F41E-4C46-9E54-1FF18C9DF782}" presName="parTx" presStyleLbl="revTx" presStyleIdx="0" presStyleCnt="4">
        <dgm:presLayoutVars>
          <dgm:chMax val="0"/>
          <dgm:chPref val="0"/>
        </dgm:presLayoutVars>
      </dgm:prSet>
      <dgm:spPr/>
    </dgm:pt>
    <dgm:pt modelId="{237369CC-67BB-4D47-87A2-3E4B8093C77C}" type="pres">
      <dgm:prSet presAssocID="{E32E56F9-5FAD-4180-A035-A9CD4DF502E9}" presName="sibTrans" presStyleCnt="0"/>
      <dgm:spPr/>
    </dgm:pt>
    <dgm:pt modelId="{D62C9D80-0E37-4816-8D59-006BE6D06A31}" type="pres">
      <dgm:prSet presAssocID="{67D20824-9E41-4AD3-ABF5-9B0EE17D7290}" presName="compNode" presStyleCnt="0"/>
      <dgm:spPr/>
    </dgm:pt>
    <dgm:pt modelId="{8A7CDFD8-8A51-4237-9987-BA42CAF7854C}" type="pres">
      <dgm:prSet presAssocID="{67D20824-9E41-4AD3-ABF5-9B0EE17D7290}" presName="bgRect" presStyleLbl="bgShp" presStyleIdx="1" presStyleCnt="4"/>
      <dgm:spPr/>
    </dgm:pt>
    <dgm:pt modelId="{A796C57A-9570-4EA6-909D-3A51C7153CEB}" type="pres">
      <dgm:prSet presAssocID="{67D20824-9E41-4AD3-ABF5-9B0EE17D7290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enger"/>
        </a:ext>
      </dgm:extLst>
    </dgm:pt>
    <dgm:pt modelId="{88746542-AF18-42B7-8719-CFD00180F864}" type="pres">
      <dgm:prSet presAssocID="{67D20824-9E41-4AD3-ABF5-9B0EE17D7290}" presName="spaceRect" presStyleCnt="0"/>
      <dgm:spPr/>
    </dgm:pt>
    <dgm:pt modelId="{82F7B92D-8E3C-4135-B408-2DD47E117A01}" type="pres">
      <dgm:prSet presAssocID="{67D20824-9E41-4AD3-ABF5-9B0EE17D7290}" presName="parTx" presStyleLbl="revTx" presStyleIdx="1" presStyleCnt="4">
        <dgm:presLayoutVars>
          <dgm:chMax val="0"/>
          <dgm:chPref val="0"/>
        </dgm:presLayoutVars>
      </dgm:prSet>
      <dgm:spPr/>
    </dgm:pt>
    <dgm:pt modelId="{FD64A90E-EF83-4C16-A8EF-943EEBB6697C}" type="pres">
      <dgm:prSet presAssocID="{FCBD3CED-F0A9-401F-8A8C-0B8B2C133B70}" presName="sibTrans" presStyleCnt="0"/>
      <dgm:spPr/>
    </dgm:pt>
    <dgm:pt modelId="{D39334CB-C40A-418D-BA70-88B962FC0FF1}" type="pres">
      <dgm:prSet presAssocID="{99AA4125-BC47-4F4E-ABD1-E7D0F9F5DAE5}" presName="compNode" presStyleCnt="0"/>
      <dgm:spPr/>
    </dgm:pt>
    <dgm:pt modelId="{EC435798-3B3E-4C81-BE78-C29AAEDAE761}" type="pres">
      <dgm:prSet presAssocID="{99AA4125-BC47-4F4E-ABD1-E7D0F9F5DAE5}" presName="bgRect" presStyleLbl="bgShp" presStyleIdx="2" presStyleCnt="4"/>
      <dgm:spPr/>
    </dgm:pt>
    <dgm:pt modelId="{01B2A90B-5DBA-4F7A-8A15-939572170DFB}" type="pres">
      <dgm:prSet presAssocID="{99AA4125-BC47-4F4E-ABD1-E7D0F9F5DAE5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iplomrull med heldekkende fyll"/>
        </a:ext>
      </dgm:extLst>
    </dgm:pt>
    <dgm:pt modelId="{723B6565-C74B-4F83-AAC0-F8CEF1ACC813}" type="pres">
      <dgm:prSet presAssocID="{99AA4125-BC47-4F4E-ABD1-E7D0F9F5DAE5}" presName="spaceRect" presStyleCnt="0"/>
      <dgm:spPr/>
    </dgm:pt>
    <dgm:pt modelId="{014F7028-380F-4774-98AC-C822E9ED2CEB}" type="pres">
      <dgm:prSet presAssocID="{99AA4125-BC47-4F4E-ABD1-E7D0F9F5DAE5}" presName="parTx" presStyleLbl="revTx" presStyleIdx="2" presStyleCnt="4">
        <dgm:presLayoutVars>
          <dgm:chMax val="0"/>
          <dgm:chPref val="0"/>
        </dgm:presLayoutVars>
      </dgm:prSet>
      <dgm:spPr/>
    </dgm:pt>
    <dgm:pt modelId="{E73D9362-A584-498D-A57D-43232215A3A3}" type="pres">
      <dgm:prSet presAssocID="{EB12C8AB-3661-4D0C-BE30-2DFAF332EF1F}" presName="sibTrans" presStyleCnt="0"/>
      <dgm:spPr/>
    </dgm:pt>
    <dgm:pt modelId="{7657F9F5-D8A5-4DC2-AD34-8FC824102DBB}" type="pres">
      <dgm:prSet presAssocID="{99EFACB8-0E4C-476A-B798-E500FE19AC87}" presName="compNode" presStyleCnt="0"/>
      <dgm:spPr/>
    </dgm:pt>
    <dgm:pt modelId="{A7BBA321-CF3E-4FEB-8C15-2206DC94CB45}" type="pres">
      <dgm:prSet presAssocID="{99EFACB8-0E4C-476A-B798-E500FE19AC87}" presName="bgRect" presStyleLbl="bgShp" presStyleIdx="3" presStyleCnt="4"/>
      <dgm:spPr/>
    </dgm:pt>
    <dgm:pt modelId="{F4070782-396F-4F9E-89E2-09427EDAE4F1}" type="pres">
      <dgm:prSet presAssocID="{99EFACB8-0E4C-476A-B798-E500FE19AC87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at"/>
        </a:ext>
      </dgm:extLst>
    </dgm:pt>
    <dgm:pt modelId="{7B571AF4-A926-47E3-AD88-15A8F4BD01C5}" type="pres">
      <dgm:prSet presAssocID="{99EFACB8-0E4C-476A-B798-E500FE19AC87}" presName="spaceRect" presStyleCnt="0"/>
      <dgm:spPr/>
    </dgm:pt>
    <dgm:pt modelId="{1F4AF0CE-ACD2-4800-973F-1596065CD22B}" type="pres">
      <dgm:prSet presAssocID="{99EFACB8-0E4C-476A-B798-E500FE19AC87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B8143C23-6DE1-43FD-A78C-744AFEAF1528}" srcId="{D32C48E0-830C-4234-A416-209B17E3FFEF}" destId="{5D6CEC4E-F41E-4C46-9E54-1FF18C9DF782}" srcOrd="0" destOrd="0" parTransId="{C981BAFD-41D8-432B-8C5D-724D5F2677B6}" sibTransId="{E32E56F9-5FAD-4180-A035-A9CD4DF502E9}"/>
    <dgm:cxn modelId="{3D570D26-DE53-43F7-A9B5-81AFBB12E585}" srcId="{D32C48E0-830C-4234-A416-209B17E3FFEF}" destId="{99AA4125-BC47-4F4E-ABD1-E7D0F9F5DAE5}" srcOrd="2" destOrd="0" parTransId="{F47B073C-C73E-4852-9E36-7F1CB98E1C29}" sibTransId="{EB12C8AB-3661-4D0C-BE30-2DFAF332EF1F}"/>
    <dgm:cxn modelId="{3FBF6826-28EE-4EE5-964F-B92DFA80F46B}" srcId="{D32C48E0-830C-4234-A416-209B17E3FFEF}" destId="{67D20824-9E41-4AD3-ABF5-9B0EE17D7290}" srcOrd="1" destOrd="0" parTransId="{7F5D7D2D-9C4B-47A7-A39B-F82B456332BB}" sibTransId="{FCBD3CED-F0A9-401F-8A8C-0B8B2C133B70}"/>
    <dgm:cxn modelId="{CD155367-BAAE-41A8-81DC-07830D0E3610}" type="presOf" srcId="{D32C48E0-830C-4234-A416-209B17E3FFEF}" destId="{20FD7FEC-4E8F-418C-9BE1-C487A1A71A00}" srcOrd="0" destOrd="0" presId="urn:microsoft.com/office/officeart/2018/2/layout/IconVerticalSolidList"/>
    <dgm:cxn modelId="{40660957-07EE-40DB-A676-DBC9ABF7F614}" type="presOf" srcId="{5D6CEC4E-F41E-4C46-9E54-1FF18C9DF782}" destId="{75250449-CA63-4385-9D23-F987D864CBED}" srcOrd="0" destOrd="0" presId="urn:microsoft.com/office/officeart/2018/2/layout/IconVerticalSolidList"/>
    <dgm:cxn modelId="{AE8E80A8-F9B1-4ED2-9270-5C82E9550E7A}" type="presOf" srcId="{99AA4125-BC47-4F4E-ABD1-E7D0F9F5DAE5}" destId="{014F7028-380F-4774-98AC-C822E9ED2CEB}" srcOrd="0" destOrd="0" presId="urn:microsoft.com/office/officeart/2018/2/layout/IconVerticalSolidList"/>
    <dgm:cxn modelId="{FD94AECF-CADD-4BC5-99A0-44C8C591A6C3}" type="presOf" srcId="{67D20824-9E41-4AD3-ABF5-9B0EE17D7290}" destId="{82F7B92D-8E3C-4135-B408-2DD47E117A01}" srcOrd="0" destOrd="0" presId="urn:microsoft.com/office/officeart/2018/2/layout/IconVerticalSolidList"/>
    <dgm:cxn modelId="{A8354BEA-B882-4A94-AEE3-E2506D99FC46}" type="presOf" srcId="{99EFACB8-0E4C-476A-B798-E500FE19AC87}" destId="{1F4AF0CE-ACD2-4800-973F-1596065CD22B}" srcOrd="0" destOrd="0" presId="urn:microsoft.com/office/officeart/2018/2/layout/IconVerticalSolidList"/>
    <dgm:cxn modelId="{9BC3F0FD-4877-453C-A1A9-3820326AA522}" srcId="{D32C48E0-830C-4234-A416-209B17E3FFEF}" destId="{99EFACB8-0E4C-476A-B798-E500FE19AC87}" srcOrd="3" destOrd="0" parTransId="{0758F239-A4CE-4D89-932B-ECDB9B5AE514}" sibTransId="{42864D06-CA03-4971-9FB4-F926425C6092}"/>
    <dgm:cxn modelId="{862B7279-AFBC-4AD4-9FCF-E80BEA506E02}" type="presParOf" srcId="{20FD7FEC-4E8F-418C-9BE1-C487A1A71A00}" destId="{0AE0BDC0-4E1A-4515-A094-3C9CD2E134CA}" srcOrd="0" destOrd="0" presId="urn:microsoft.com/office/officeart/2018/2/layout/IconVerticalSolidList"/>
    <dgm:cxn modelId="{FAC0343D-FBFC-43BB-86B0-92254C9391A0}" type="presParOf" srcId="{0AE0BDC0-4E1A-4515-A094-3C9CD2E134CA}" destId="{86E4E0AA-B748-4128-93ED-353E364B727F}" srcOrd="0" destOrd="0" presId="urn:microsoft.com/office/officeart/2018/2/layout/IconVerticalSolidList"/>
    <dgm:cxn modelId="{118F8F88-83C7-46DC-8485-4423531835F7}" type="presParOf" srcId="{0AE0BDC0-4E1A-4515-A094-3C9CD2E134CA}" destId="{9199A633-7A54-4BC1-A31D-CCE305C89A1F}" srcOrd="1" destOrd="0" presId="urn:microsoft.com/office/officeart/2018/2/layout/IconVerticalSolidList"/>
    <dgm:cxn modelId="{B532858D-5486-40D2-AE75-6F634CF69AC0}" type="presParOf" srcId="{0AE0BDC0-4E1A-4515-A094-3C9CD2E134CA}" destId="{414F15C7-DD32-49EC-ADEC-B1C6C91E54B3}" srcOrd="2" destOrd="0" presId="urn:microsoft.com/office/officeart/2018/2/layout/IconVerticalSolidList"/>
    <dgm:cxn modelId="{3CAC2F53-68AF-4662-8D84-9199E784847E}" type="presParOf" srcId="{0AE0BDC0-4E1A-4515-A094-3C9CD2E134CA}" destId="{75250449-CA63-4385-9D23-F987D864CBED}" srcOrd="3" destOrd="0" presId="urn:microsoft.com/office/officeart/2018/2/layout/IconVerticalSolidList"/>
    <dgm:cxn modelId="{BBB2A3F0-FA60-417E-8D7F-D3576134362E}" type="presParOf" srcId="{20FD7FEC-4E8F-418C-9BE1-C487A1A71A00}" destId="{237369CC-67BB-4D47-87A2-3E4B8093C77C}" srcOrd="1" destOrd="0" presId="urn:microsoft.com/office/officeart/2018/2/layout/IconVerticalSolidList"/>
    <dgm:cxn modelId="{679DB68F-D0A7-40C2-B4AE-5EAAE90E42FA}" type="presParOf" srcId="{20FD7FEC-4E8F-418C-9BE1-C487A1A71A00}" destId="{D62C9D80-0E37-4816-8D59-006BE6D06A31}" srcOrd="2" destOrd="0" presId="urn:microsoft.com/office/officeart/2018/2/layout/IconVerticalSolidList"/>
    <dgm:cxn modelId="{ADFEB388-4D1E-4DFB-B27B-81BF9C46AC04}" type="presParOf" srcId="{D62C9D80-0E37-4816-8D59-006BE6D06A31}" destId="{8A7CDFD8-8A51-4237-9987-BA42CAF7854C}" srcOrd="0" destOrd="0" presId="urn:microsoft.com/office/officeart/2018/2/layout/IconVerticalSolidList"/>
    <dgm:cxn modelId="{CC05729E-7613-4540-944F-710ADD9C5E64}" type="presParOf" srcId="{D62C9D80-0E37-4816-8D59-006BE6D06A31}" destId="{A796C57A-9570-4EA6-909D-3A51C7153CEB}" srcOrd="1" destOrd="0" presId="urn:microsoft.com/office/officeart/2018/2/layout/IconVerticalSolidList"/>
    <dgm:cxn modelId="{AA35D600-1E8C-4658-ADC4-F1807E0DE4A0}" type="presParOf" srcId="{D62C9D80-0E37-4816-8D59-006BE6D06A31}" destId="{88746542-AF18-42B7-8719-CFD00180F864}" srcOrd="2" destOrd="0" presId="urn:microsoft.com/office/officeart/2018/2/layout/IconVerticalSolidList"/>
    <dgm:cxn modelId="{701E0931-EA46-4F56-8DC6-2294E3436CDE}" type="presParOf" srcId="{D62C9D80-0E37-4816-8D59-006BE6D06A31}" destId="{82F7B92D-8E3C-4135-B408-2DD47E117A01}" srcOrd="3" destOrd="0" presId="urn:microsoft.com/office/officeart/2018/2/layout/IconVerticalSolidList"/>
    <dgm:cxn modelId="{F75FE904-4C0E-4AAC-B431-6E2794D6041A}" type="presParOf" srcId="{20FD7FEC-4E8F-418C-9BE1-C487A1A71A00}" destId="{FD64A90E-EF83-4C16-A8EF-943EEBB6697C}" srcOrd="3" destOrd="0" presId="urn:microsoft.com/office/officeart/2018/2/layout/IconVerticalSolidList"/>
    <dgm:cxn modelId="{997AB737-4B38-4282-8648-465FAC0B33FF}" type="presParOf" srcId="{20FD7FEC-4E8F-418C-9BE1-C487A1A71A00}" destId="{D39334CB-C40A-418D-BA70-88B962FC0FF1}" srcOrd="4" destOrd="0" presId="urn:microsoft.com/office/officeart/2018/2/layout/IconVerticalSolidList"/>
    <dgm:cxn modelId="{66D0023F-C723-41F7-8CB1-57DCA0677AEE}" type="presParOf" srcId="{D39334CB-C40A-418D-BA70-88B962FC0FF1}" destId="{EC435798-3B3E-4C81-BE78-C29AAEDAE761}" srcOrd="0" destOrd="0" presId="urn:microsoft.com/office/officeart/2018/2/layout/IconVerticalSolidList"/>
    <dgm:cxn modelId="{E52AE8BF-5265-48F8-BBC9-43AF0589904F}" type="presParOf" srcId="{D39334CB-C40A-418D-BA70-88B962FC0FF1}" destId="{01B2A90B-5DBA-4F7A-8A15-939572170DFB}" srcOrd="1" destOrd="0" presId="urn:microsoft.com/office/officeart/2018/2/layout/IconVerticalSolidList"/>
    <dgm:cxn modelId="{F9F898CE-EC86-4964-A628-A33D68701893}" type="presParOf" srcId="{D39334CB-C40A-418D-BA70-88B962FC0FF1}" destId="{723B6565-C74B-4F83-AAC0-F8CEF1ACC813}" srcOrd="2" destOrd="0" presId="urn:microsoft.com/office/officeart/2018/2/layout/IconVerticalSolidList"/>
    <dgm:cxn modelId="{DB464176-D95A-4C52-B6D7-B707A0491699}" type="presParOf" srcId="{D39334CB-C40A-418D-BA70-88B962FC0FF1}" destId="{014F7028-380F-4774-98AC-C822E9ED2CEB}" srcOrd="3" destOrd="0" presId="urn:microsoft.com/office/officeart/2018/2/layout/IconVerticalSolidList"/>
    <dgm:cxn modelId="{CC310707-50A1-4594-BE29-84BF6103004C}" type="presParOf" srcId="{20FD7FEC-4E8F-418C-9BE1-C487A1A71A00}" destId="{E73D9362-A584-498D-A57D-43232215A3A3}" srcOrd="5" destOrd="0" presId="urn:microsoft.com/office/officeart/2018/2/layout/IconVerticalSolidList"/>
    <dgm:cxn modelId="{8CE4AECE-F018-4880-BC1E-8806063F5649}" type="presParOf" srcId="{20FD7FEC-4E8F-418C-9BE1-C487A1A71A00}" destId="{7657F9F5-D8A5-4DC2-AD34-8FC824102DBB}" srcOrd="6" destOrd="0" presId="urn:microsoft.com/office/officeart/2018/2/layout/IconVerticalSolidList"/>
    <dgm:cxn modelId="{58350335-90C8-4F60-AA81-B7FE1528AA42}" type="presParOf" srcId="{7657F9F5-D8A5-4DC2-AD34-8FC824102DBB}" destId="{A7BBA321-CF3E-4FEB-8C15-2206DC94CB45}" srcOrd="0" destOrd="0" presId="urn:microsoft.com/office/officeart/2018/2/layout/IconVerticalSolidList"/>
    <dgm:cxn modelId="{85957953-1285-4ACD-9870-CED5D87D17C2}" type="presParOf" srcId="{7657F9F5-D8A5-4DC2-AD34-8FC824102DBB}" destId="{F4070782-396F-4F9E-89E2-09427EDAE4F1}" srcOrd="1" destOrd="0" presId="urn:microsoft.com/office/officeart/2018/2/layout/IconVerticalSolidList"/>
    <dgm:cxn modelId="{467EDDF1-C246-4600-8D14-D7B8330F8F51}" type="presParOf" srcId="{7657F9F5-D8A5-4DC2-AD34-8FC824102DBB}" destId="{7B571AF4-A926-47E3-AD88-15A8F4BD01C5}" srcOrd="2" destOrd="0" presId="urn:microsoft.com/office/officeart/2018/2/layout/IconVerticalSolidList"/>
    <dgm:cxn modelId="{83FF6158-9689-45DB-A838-C512075D6400}" type="presParOf" srcId="{7657F9F5-D8A5-4DC2-AD34-8FC824102DBB}" destId="{1F4AF0CE-ACD2-4800-973F-1596065CD22B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E246CC5-6486-40DC-8C9B-8F3ABEC790E3}" type="doc">
      <dgm:prSet loTypeId="urn:microsoft.com/office/officeart/2005/8/layout/hProcess3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GB"/>
        </a:p>
      </dgm:t>
    </dgm:pt>
    <dgm:pt modelId="{A8C4ECBF-834B-4011-A90C-F201BDE1B9D5}">
      <dgm:prSet custT="1"/>
      <dgm:spPr/>
      <dgm:t>
        <a:bodyPr/>
        <a:lstStyle/>
        <a:p>
          <a:r>
            <a:rPr lang="nn-NO" sz="2000" dirty="0"/>
            <a:t>Stemmer </a:t>
          </a:r>
          <a:r>
            <a:rPr lang="nn-NO" sz="2000" dirty="0" err="1"/>
            <a:t>valgene</a:t>
          </a:r>
          <a:r>
            <a:rPr lang="nn-NO" sz="2000" dirty="0"/>
            <a:t> dine med oppbygning av graden?</a:t>
          </a:r>
          <a:endParaRPr lang="en-GB" sz="2000" dirty="0"/>
        </a:p>
      </dgm:t>
    </dgm:pt>
    <dgm:pt modelId="{10AE2C11-1EF0-47CD-9E27-93CE1CA236C1}" type="parTrans" cxnId="{B77ADC7B-E972-456D-9856-4BF0BBC98C82}">
      <dgm:prSet/>
      <dgm:spPr/>
      <dgm:t>
        <a:bodyPr/>
        <a:lstStyle/>
        <a:p>
          <a:endParaRPr lang="en-GB"/>
        </a:p>
      </dgm:t>
    </dgm:pt>
    <dgm:pt modelId="{BA21F615-6557-4441-84D6-3BFA3F02188C}" type="sibTrans" cxnId="{B77ADC7B-E972-456D-9856-4BF0BBC98C82}">
      <dgm:prSet/>
      <dgm:spPr/>
      <dgm:t>
        <a:bodyPr/>
        <a:lstStyle/>
        <a:p>
          <a:endParaRPr lang="en-GB"/>
        </a:p>
      </dgm:t>
    </dgm:pt>
    <dgm:pt modelId="{8AEF5397-EBD3-4B0D-8F99-BCDB627EDC04}">
      <dgm:prSet custT="1"/>
      <dgm:spPr/>
      <dgm:t>
        <a:bodyPr/>
        <a:lstStyle/>
        <a:p>
          <a:r>
            <a:rPr lang="nn-NO" sz="2000" dirty="0" err="1"/>
            <a:t>Hvilke</a:t>
          </a:r>
          <a:r>
            <a:rPr lang="nn-NO" sz="2000" dirty="0"/>
            <a:t> </a:t>
          </a:r>
          <a:r>
            <a:rPr lang="nn-NO" sz="2000" dirty="0" err="1"/>
            <a:t>emner</a:t>
          </a:r>
          <a:r>
            <a:rPr lang="nn-NO" sz="2000" dirty="0"/>
            <a:t> skal du ta? </a:t>
          </a:r>
          <a:r>
            <a:rPr lang="nn-NO" sz="2000" dirty="0" err="1"/>
            <a:t>Hva</a:t>
          </a:r>
          <a:r>
            <a:rPr lang="nn-NO" sz="2000" dirty="0"/>
            <a:t> er emnekodene?</a:t>
          </a:r>
          <a:endParaRPr lang="en-GB" sz="2000" dirty="0"/>
        </a:p>
      </dgm:t>
    </dgm:pt>
    <dgm:pt modelId="{3F778B98-38D9-462A-BFC3-F05D658B0E0B}" type="parTrans" cxnId="{15471C84-5D89-4F02-B0D8-D59AF74D18F6}">
      <dgm:prSet/>
      <dgm:spPr/>
      <dgm:t>
        <a:bodyPr/>
        <a:lstStyle/>
        <a:p>
          <a:endParaRPr lang="en-GB"/>
        </a:p>
      </dgm:t>
    </dgm:pt>
    <dgm:pt modelId="{AB5DE838-9608-4863-8EC8-2D4F922A867B}" type="sibTrans" cxnId="{15471C84-5D89-4F02-B0D8-D59AF74D18F6}">
      <dgm:prSet/>
      <dgm:spPr/>
      <dgm:t>
        <a:bodyPr/>
        <a:lstStyle/>
        <a:p>
          <a:endParaRPr lang="en-GB"/>
        </a:p>
      </dgm:t>
    </dgm:pt>
    <dgm:pt modelId="{99152B7E-2713-417E-B977-7AD077796F08}">
      <dgm:prSet custT="1"/>
      <dgm:spPr/>
      <dgm:t>
        <a:bodyPr/>
        <a:lstStyle/>
        <a:p>
          <a:r>
            <a:rPr lang="nn-NO" sz="2000" dirty="0"/>
            <a:t>Når går </a:t>
          </a:r>
          <a:r>
            <a:rPr lang="nn-NO" sz="2000" dirty="0" err="1"/>
            <a:t>undervisningen</a:t>
          </a:r>
          <a:r>
            <a:rPr lang="nn-NO" sz="2000" dirty="0"/>
            <a:t>? Kolliderer </a:t>
          </a:r>
          <a:r>
            <a:rPr lang="nn-NO" sz="2000" dirty="0" err="1"/>
            <a:t>timeplanene</a:t>
          </a:r>
          <a:r>
            <a:rPr lang="nn-NO" sz="2000" dirty="0"/>
            <a:t>?</a:t>
          </a:r>
          <a:endParaRPr lang="en-GB" sz="2000" dirty="0"/>
        </a:p>
      </dgm:t>
    </dgm:pt>
    <dgm:pt modelId="{FD21F910-22AE-4667-A7A4-70ADDE589036}" type="parTrans" cxnId="{81D1C6AB-A5DA-4C4A-9D29-916376339D3C}">
      <dgm:prSet/>
      <dgm:spPr/>
      <dgm:t>
        <a:bodyPr/>
        <a:lstStyle/>
        <a:p>
          <a:endParaRPr lang="en-GB"/>
        </a:p>
      </dgm:t>
    </dgm:pt>
    <dgm:pt modelId="{85F2CE66-5A35-4673-AB99-248D6C9D45E0}" type="sibTrans" cxnId="{81D1C6AB-A5DA-4C4A-9D29-916376339D3C}">
      <dgm:prSet/>
      <dgm:spPr/>
      <dgm:t>
        <a:bodyPr/>
        <a:lstStyle/>
        <a:p>
          <a:endParaRPr lang="en-GB"/>
        </a:p>
      </dgm:t>
    </dgm:pt>
    <dgm:pt modelId="{3460FF00-2A96-4E2A-83A9-F8B557A1BB04}">
      <dgm:prSet custT="1"/>
      <dgm:spPr/>
      <dgm:t>
        <a:bodyPr/>
        <a:lstStyle/>
        <a:p>
          <a:r>
            <a:rPr lang="nn-NO" sz="2000" dirty="0"/>
            <a:t>Er </a:t>
          </a:r>
          <a:r>
            <a:rPr lang="nn-NO" sz="2000" dirty="0" err="1"/>
            <a:t>noen</a:t>
          </a:r>
          <a:r>
            <a:rPr lang="nn-NO" sz="2000" dirty="0"/>
            <a:t> av </a:t>
          </a:r>
          <a:r>
            <a:rPr lang="nn-NO" sz="2000" dirty="0" err="1"/>
            <a:t>eksamenene</a:t>
          </a:r>
          <a:r>
            <a:rPr lang="nn-NO" sz="2000" dirty="0"/>
            <a:t> på </a:t>
          </a:r>
          <a:r>
            <a:rPr lang="nn-NO" sz="2000" dirty="0" err="1"/>
            <a:t>samme</a:t>
          </a:r>
          <a:r>
            <a:rPr lang="nn-NO" sz="2000" dirty="0"/>
            <a:t> dag?</a:t>
          </a:r>
          <a:endParaRPr lang="en-GB" sz="2000" dirty="0"/>
        </a:p>
      </dgm:t>
    </dgm:pt>
    <dgm:pt modelId="{B0D4684F-DF51-496E-8AAA-20BB925644A3}" type="parTrans" cxnId="{D7663AE4-426A-4190-B102-153D4EC24D72}">
      <dgm:prSet/>
      <dgm:spPr/>
      <dgm:t>
        <a:bodyPr/>
        <a:lstStyle/>
        <a:p>
          <a:endParaRPr lang="en-GB"/>
        </a:p>
      </dgm:t>
    </dgm:pt>
    <dgm:pt modelId="{34E6F0D2-97D9-4EFE-840F-D6FE6D3C3D41}" type="sibTrans" cxnId="{D7663AE4-426A-4190-B102-153D4EC24D72}">
      <dgm:prSet/>
      <dgm:spPr/>
      <dgm:t>
        <a:bodyPr/>
        <a:lstStyle/>
        <a:p>
          <a:endParaRPr lang="en-GB"/>
        </a:p>
      </dgm:t>
    </dgm:pt>
    <dgm:pt modelId="{0A13D025-1051-4422-9877-376AC4D8F039}" type="pres">
      <dgm:prSet presAssocID="{3E246CC5-6486-40DC-8C9B-8F3ABEC790E3}" presName="Name0" presStyleCnt="0">
        <dgm:presLayoutVars>
          <dgm:dir/>
          <dgm:animLvl val="lvl"/>
          <dgm:resizeHandles val="exact"/>
        </dgm:presLayoutVars>
      </dgm:prSet>
      <dgm:spPr/>
    </dgm:pt>
    <dgm:pt modelId="{DEBE9F38-D5A9-44A7-9083-84797FF938CF}" type="pres">
      <dgm:prSet presAssocID="{3E246CC5-6486-40DC-8C9B-8F3ABEC790E3}" presName="dummy" presStyleCnt="0"/>
      <dgm:spPr/>
    </dgm:pt>
    <dgm:pt modelId="{1FA25526-4892-4516-8F05-ACAEBD601709}" type="pres">
      <dgm:prSet presAssocID="{3E246CC5-6486-40DC-8C9B-8F3ABEC790E3}" presName="linH" presStyleCnt="0"/>
      <dgm:spPr/>
    </dgm:pt>
    <dgm:pt modelId="{18906D8B-AD21-45FE-8320-E2940349CC49}" type="pres">
      <dgm:prSet presAssocID="{3E246CC5-6486-40DC-8C9B-8F3ABEC790E3}" presName="padding1" presStyleCnt="0"/>
      <dgm:spPr/>
    </dgm:pt>
    <dgm:pt modelId="{BE75BF1E-FC23-41F9-A388-F1D84C5B159D}" type="pres">
      <dgm:prSet presAssocID="{A8C4ECBF-834B-4011-A90C-F201BDE1B9D5}" presName="linV" presStyleCnt="0"/>
      <dgm:spPr/>
    </dgm:pt>
    <dgm:pt modelId="{0E7902C8-4E8A-4D83-84ED-3F50A33ADC3D}" type="pres">
      <dgm:prSet presAssocID="{A8C4ECBF-834B-4011-A90C-F201BDE1B9D5}" presName="spVertical1" presStyleCnt="0"/>
      <dgm:spPr/>
    </dgm:pt>
    <dgm:pt modelId="{73CBF0C1-C73E-41A3-B457-488937B55F80}" type="pres">
      <dgm:prSet presAssocID="{A8C4ECBF-834B-4011-A90C-F201BDE1B9D5}" presName="parTx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DF10D58C-44F4-4158-8A4D-7D251BAF166B}" type="pres">
      <dgm:prSet presAssocID="{A8C4ECBF-834B-4011-A90C-F201BDE1B9D5}" presName="spVertical2" presStyleCnt="0"/>
      <dgm:spPr/>
    </dgm:pt>
    <dgm:pt modelId="{023D48EA-E7F8-480C-A81F-51296940FBB0}" type="pres">
      <dgm:prSet presAssocID="{A8C4ECBF-834B-4011-A90C-F201BDE1B9D5}" presName="spVertical3" presStyleCnt="0"/>
      <dgm:spPr/>
    </dgm:pt>
    <dgm:pt modelId="{75ED0969-B490-40B6-8DD6-92FCF0A0A1BA}" type="pres">
      <dgm:prSet presAssocID="{BA21F615-6557-4441-84D6-3BFA3F02188C}" presName="space" presStyleCnt="0"/>
      <dgm:spPr/>
    </dgm:pt>
    <dgm:pt modelId="{D10E3AEA-33E7-4CA6-B017-D6E68866FD01}" type="pres">
      <dgm:prSet presAssocID="{8AEF5397-EBD3-4B0D-8F99-BCDB627EDC04}" presName="linV" presStyleCnt="0"/>
      <dgm:spPr/>
    </dgm:pt>
    <dgm:pt modelId="{B71552F7-39D8-4226-8CB2-4FE9226F8AEB}" type="pres">
      <dgm:prSet presAssocID="{8AEF5397-EBD3-4B0D-8F99-BCDB627EDC04}" presName="spVertical1" presStyleCnt="0"/>
      <dgm:spPr/>
    </dgm:pt>
    <dgm:pt modelId="{AD4A56D6-B5C5-433D-B7B7-69E35E9E81D5}" type="pres">
      <dgm:prSet presAssocID="{8AEF5397-EBD3-4B0D-8F99-BCDB627EDC04}" presName="parTx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C9405E59-1216-409C-8C54-B83D1A1207D5}" type="pres">
      <dgm:prSet presAssocID="{8AEF5397-EBD3-4B0D-8F99-BCDB627EDC04}" presName="spVertical2" presStyleCnt="0"/>
      <dgm:spPr/>
    </dgm:pt>
    <dgm:pt modelId="{F39634FD-41F2-4B81-BB8A-38FD67A7298C}" type="pres">
      <dgm:prSet presAssocID="{8AEF5397-EBD3-4B0D-8F99-BCDB627EDC04}" presName="spVertical3" presStyleCnt="0"/>
      <dgm:spPr/>
    </dgm:pt>
    <dgm:pt modelId="{E0057131-D160-45AE-B0D0-758E4B7C3C74}" type="pres">
      <dgm:prSet presAssocID="{AB5DE838-9608-4863-8EC8-2D4F922A867B}" presName="space" presStyleCnt="0"/>
      <dgm:spPr/>
    </dgm:pt>
    <dgm:pt modelId="{A9B3C4F9-C184-4449-B475-C1EF3DB514AF}" type="pres">
      <dgm:prSet presAssocID="{99152B7E-2713-417E-B977-7AD077796F08}" presName="linV" presStyleCnt="0"/>
      <dgm:spPr/>
    </dgm:pt>
    <dgm:pt modelId="{B3DE40F4-AB47-42E7-9156-EA0BECAA9CAA}" type="pres">
      <dgm:prSet presAssocID="{99152B7E-2713-417E-B977-7AD077796F08}" presName="spVertical1" presStyleCnt="0"/>
      <dgm:spPr/>
    </dgm:pt>
    <dgm:pt modelId="{20E563A0-937C-43A7-A60F-01614D05C193}" type="pres">
      <dgm:prSet presAssocID="{99152B7E-2713-417E-B977-7AD077796F08}" presName="parTx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F727374A-9370-44F1-8CE8-75DD89FD1135}" type="pres">
      <dgm:prSet presAssocID="{99152B7E-2713-417E-B977-7AD077796F08}" presName="spVertical2" presStyleCnt="0"/>
      <dgm:spPr/>
    </dgm:pt>
    <dgm:pt modelId="{F37EF02E-36ED-4A85-8898-4F88985FEB14}" type="pres">
      <dgm:prSet presAssocID="{99152B7E-2713-417E-B977-7AD077796F08}" presName="spVertical3" presStyleCnt="0"/>
      <dgm:spPr/>
    </dgm:pt>
    <dgm:pt modelId="{3DEABBC8-022F-417B-8FCE-3CB7A2C590E4}" type="pres">
      <dgm:prSet presAssocID="{85F2CE66-5A35-4673-AB99-248D6C9D45E0}" presName="space" presStyleCnt="0"/>
      <dgm:spPr/>
    </dgm:pt>
    <dgm:pt modelId="{E9C9CF08-2849-4075-BE01-F51F95993198}" type="pres">
      <dgm:prSet presAssocID="{3460FF00-2A96-4E2A-83A9-F8B557A1BB04}" presName="linV" presStyleCnt="0"/>
      <dgm:spPr/>
    </dgm:pt>
    <dgm:pt modelId="{4FDCB1AA-ADA7-4331-A42B-268AF9ED4083}" type="pres">
      <dgm:prSet presAssocID="{3460FF00-2A96-4E2A-83A9-F8B557A1BB04}" presName="spVertical1" presStyleCnt="0"/>
      <dgm:spPr/>
    </dgm:pt>
    <dgm:pt modelId="{063E717E-F268-484A-A139-F42042499965}" type="pres">
      <dgm:prSet presAssocID="{3460FF00-2A96-4E2A-83A9-F8B557A1BB04}" presName="parTx" presStyleLbl="revTx" presStyleIdx="3" presStyleCnt="4">
        <dgm:presLayoutVars>
          <dgm:chMax val="0"/>
          <dgm:chPref val="0"/>
          <dgm:bulletEnabled val="1"/>
        </dgm:presLayoutVars>
      </dgm:prSet>
      <dgm:spPr/>
    </dgm:pt>
    <dgm:pt modelId="{2B2043C7-D5D1-45D1-A013-A570C2BDA83D}" type="pres">
      <dgm:prSet presAssocID="{3460FF00-2A96-4E2A-83A9-F8B557A1BB04}" presName="spVertical2" presStyleCnt="0"/>
      <dgm:spPr/>
    </dgm:pt>
    <dgm:pt modelId="{E9C771DA-A5F2-4170-9A35-2022A3831409}" type="pres">
      <dgm:prSet presAssocID="{3460FF00-2A96-4E2A-83A9-F8B557A1BB04}" presName="spVertical3" presStyleCnt="0"/>
      <dgm:spPr/>
    </dgm:pt>
    <dgm:pt modelId="{1C18909D-85AB-4567-AABE-6A524FFC51F7}" type="pres">
      <dgm:prSet presAssocID="{3E246CC5-6486-40DC-8C9B-8F3ABEC790E3}" presName="padding2" presStyleCnt="0"/>
      <dgm:spPr/>
    </dgm:pt>
    <dgm:pt modelId="{98951C10-40D0-426B-8904-6AF6436D6503}" type="pres">
      <dgm:prSet presAssocID="{3E246CC5-6486-40DC-8C9B-8F3ABEC790E3}" presName="negArrow" presStyleCnt="0"/>
      <dgm:spPr/>
    </dgm:pt>
    <dgm:pt modelId="{68D97C38-B64D-4AE6-9D4E-234525EF8B98}" type="pres">
      <dgm:prSet presAssocID="{3E246CC5-6486-40DC-8C9B-8F3ABEC790E3}" presName="backgroundArrow" presStyleLbl="node1" presStyleIdx="0" presStyleCnt="1"/>
      <dgm:spPr/>
    </dgm:pt>
  </dgm:ptLst>
  <dgm:cxnLst>
    <dgm:cxn modelId="{222AA432-611D-49BD-BB64-81573E72F675}" type="presOf" srcId="{8AEF5397-EBD3-4B0D-8F99-BCDB627EDC04}" destId="{AD4A56D6-B5C5-433D-B7B7-69E35E9E81D5}" srcOrd="0" destOrd="0" presId="urn:microsoft.com/office/officeart/2005/8/layout/hProcess3"/>
    <dgm:cxn modelId="{B77ADC7B-E972-456D-9856-4BF0BBC98C82}" srcId="{3E246CC5-6486-40DC-8C9B-8F3ABEC790E3}" destId="{A8C4ECBF-834B-4011-A90C-F201BDE1B9D5}" srcOrd="0" destOrd="0" parTransId="{10AE2C11-1EF0-47CD-9E27-93CE1CA236C1}" sibTransId="{BA21F615-6557-4441-84D6-3BFA3F02188C}"/>
    <dgm:cxn modelId="{15471C84-5D89-4F02-B0D8-D59AF74D18F6}" srcId="{3E246CC5-6486-40DC-8C9B-8F3ABEC790E3}" destId="{8AEF5397-EBD3-4B0D-8F99-BCDB627EDC04}" srcOrd="1" destOrd="0" parTransId="{3F778B98-38D9-462A-BFC3-F05D658B0E0B}" sibTransId="{AB5DE838-9608-4863-8EC8-2D4F922A867B}"/>
    <dgm:cxn modelId="{D9FA1386-268E-4083-9FD9-2FEED54F9314}" type="presOf" srcId="{A8C4ECBF-834B-4011-A90C-F201BDE1B9D5}" destId="{73CBF0C1-C73E-41A3-B457-488937B55F80}" srcOrd="0" destOrd="0" presId="urn:microsoft.com/office/officeart/2005/8/layout/hProcess3"/>
    <dgm:cxn modelId="{81D1C6AB-A5DA-4C4A-9D29-916376339D3C}" srcId="{3E246CC5-6486-40DC-8C9B-8F3ABEC790E3}" destId="{99152B7E-2713-417E-B977-7AD077796F08}" srcOrd="2" destOrd="0" parTransId="{FD21F910-22AE-4667-A7A4-70ADDE589036}" sibTransId="{85F2CE66-5A35-4673-AB99-248D6C9D45E0}"/>
    <dgm:cxn modelId="{9AE0CDB7-E329-4603-8EB1-3360E14F50E6}" type="presOf" srcId="{3460FF00-2A96-4E2A-83A9-F8B557A1BB04}" destId="{063E717E-F268-484A-A139-F42042499965}" srcOrd="0" destOrd="0" presId="urn:microsoft.com/office/officeart/2005/8/layout/hProcess3"/>
    <dgm:cxn modelId="{D7663AE4-426A-4190-B102-153D4EC24D72}" srcId="{3E246CC5-6486-40DC-8C9B-8F3ABEC790E3}" destId="{3460FF00-2A96-4E2A-83A9-F8B557A1BB04}" srcOrd="3" destOrd="0" parTransId="{B0D4684F-DF51-496E-8AAA-20BB925644A3}" sibTransId="{34E6F0D2-97D9-4EFE-840F-D6FE6D3C3D41}"/>
    <dgm:cxn modelId="{AB2314EC-5F10-4103-A439-8A2A1AD96196}" type="presOf" srcId="{99152B7E-2713-417E-B977-7AD077796F08}" destId="{20E563A0-937C-43A7-A60F-01614D05C193}" srcOrd="0" destOrd="0" presId="urn:microsoft.com/office/officeart/2005/8/layout/hProcess3"/>
    <dgm:cxn modelId="{776343F9-EA9F-4393-80C8-946C4D1E7B13}" type="presOf" srcId="{3E246CC5-6486-40DC-8C9B-8F3ABEC790E3}" destId="{0A13D025-1051-4422-9877-376AC4D8F039}" srcOrd="0" destOrd="0" presId="urn:microsoft.com/office/officeart/2005/8/layout/hProcess3"/>
    <dgm:cxn modelId="{8902A803-C6E2-4AF5-BE19-5B591264CBDF}" type="presParOf" srcId="{0A13D025-1051-4422-9877-376AC4D8F039}" destId="{DEBE9F38-D5A9-44A7-9083-84797FF938CF}" srcOrd="0" destOrd="0" presId="urn:microsoft.com/office/officeart/2005/8/layout/hProcess3"/>
    <dgm:cxn modelId="{BF19BDE1-E284-4E75-99C0-02C7421D8E9B}" type="presParOf" srcId="{0A13D025-1051-4422-9877-376AC4D8F039}" destId="{1FA25526-4892-4516-8F05-ACAEBD601709}" srcOrd="1" destOrd="0" presId="urn:microsoft.com/office/officeart/2005/8/layout/hProcess3"/>
    <dgm:cxn modelId="{69232FA9-BD75-4587-BD51-1D2D0CEA7E83}" type="presParOf" srcId="{1FA25526-4892-4516-8F05-ACAEBD601709}" destId="{18906D8B-AD21-45FE-8320-E2940349CC49}" srcOrd="0" destOrd="0" presId="urn:microsoft.com/office/officeart/2005/8/layout/hProcess3"/>
    <dgm:cxn modelId="{0E7CEF3A-FE95-49CC-A6F6-69391A474180}" type="presParOf" srcId="{1FA25526-4892-4516-8F05-ACAEBD601709}" destId="{BE75BF1E-FC23-41F9-A388-F1D84C5B159D}" srcOrd="1" destOrd="0" presId="urn:microsoft.com/office/officeart/2005/8/layout/hProcess3"/>
    <dgm:cxn modelId="{B795B322-BEAB-4D2A-9CF3-E520218A799F}" type="presParOf" srcId="{BE75BF1E-FC23-41F9-A388-F1D84C5B159D}" destId="{0E7902C8-4E8A-4D83-84ED-3F50A33ADC3D}" srcOrd="0" destOrd="0" presId="urn:microsoft.com/office/officeart/2005/8/layout/hProcess3"/>
    <dgm:cxn modelId="{82FFFB80-56CF-4876-B7FC-2FDE6936BD93}" type="presParOf" srcId="{BE75BF1E-FC23-41F9-A388-F1D84C5B159D}" destId="{73CBF0C1-C73E-41A3-B457-488937B55F80}" srcOrd="1" destOrd="0" presId="urn:microsoft.com/office/officeart/2005/8/layout/hProcess3"/>
    <dgm:cxn modelId="{342CF89D-5DD0-49B4-9D22-47E710805654}" type="presParOf" srcId="{BE75BF1E-FC23-41F9-A388-F1D84C5B159D}" destId="{DF10D58C-44F4-4158-8A4D-7D251BAF166B}" srcOrd="2" destOrd="0" presId="urn:microsoft.com/office/officeart/2005/8/layout/hProcess3"/>
    <dgm:cxn modelId="{CD28DCC1-62EE-4132-AD19-6761C35D834B}" type="presParOf" srcId="{BE75BF1E-FC23-41F9-A388-F1D84C5B159D}" destId="{023D48EA-E7F8-480C-A81F-51296940FBB0}" srcOrd="3" destOrd="0" presId="urn:microsoft.com/office/officeart/2005/8/layout/hProcess3"/>
    <dgm:cxn modelId="{69875C15-A452-4662-B9CB-5EA55F45F882}" type="presParOf" srcId="{1FA25526-4892-4516-8F05-ACAEBD601709}" destId="{75ED0969-B490-40B6-8DD6-92FCF0A0A1BA}" srcOrd="2" destOrd="0" presId="urn:microsoft.com/office/officeart/2005/8/layout/hProcess3"/>
    <dgm:cxn modelId="{0AE1D887-06C3-452A-8BC7-EE5E7DDF7367}" type="presParOf" srcId="{1FA25526-4892-4516-8F05-ACAEBD601709}" destId="{D10E3AEA-33E7-4CA6-B017-D6E68866FD01}" srcOrd="3" destOrd="0" presId="urn:microsoft.com/office/officeart/2005/8/layout/hProcess3"/>
    <dgm:cxn modelId="{09D021C5-E533-47B6-B7E9-6C5DC71FB349}" type="presParOf" srcId="{D10E3AEA-33E7-4CA6-B017-D6E68866FD01}" destId="{B71552F7-39D8-4226-8CB2-4FE9226F8AEB}" srcOrd="0" destOrd="0" presId="urn:microsoft.com/office/officeart/2005/8/layout/hProcess3"/>
    <dgm:cxn modelId="{221FF6E5-F118-4E6E-85F2-3D579C29F7AD}" type="presParOf" srcId="{D10E3AEA-33E7-4CA6-B017-D6E68866FD01}" destId="{AD4A56D6-B5C5-433D-B7B7-69E35E9E81D5}" srcOrd="1" destOrd="0" presId="urn:microsoft.com/office/officeart/2005/8/layout/hProcess3"/>
    <dgm:cxn modelId="{310F6B15-0AB5-43C5-BBF4-7687989856B8}" type="presParOf" srcId="{D10E3AEA-33E7-4CA6-B017-D6E68866FD01}" destId="{C9405E59-1216-409C-8C54-B83D1A1207D5}" srcOrd="2" destOrd="0" presId="urn:microsoft.com/office/officeart/2005/8/layout/hProcess3"/>
    <dgm:cxn modelId="{08760893-635B-4345-92BE-C691376D9697}" type="presParOf" srcId="{D10E3AEA-33E7-4CA6-B017-D6E68866FD01}" destId="{F39634FD-41F2-4B81-BB8A-38FD67A7298C}" srcOrd="3" destOrd="0" presId="urn:microsoft.com/office/officeart/2005/8/layout/hProcess3"/>
    <dgm:cxn modelId="{54FF2779-504B-4520-A15E-27A763ADB5FD}" type="presParOf" srcId="{1FA25526-4892-4516-8F05-ACAEBD601709}" destId="{E0057131-D160-45AE-B0D0-758E4B7C3C74}" srcOrd="4" destOrd="0" presId="urn:microsoft.com/office/officeart/2005/8/layout/hProcess3"/>
    <dgm:cxn modelId="{FEA04243-97A8-44B5-9935-36151D28FF68}" type="presParOf" srcId="{1FA25526-4892-4516-8F05-ACAEBD601709}" destId="{A9B3C4F9-C184-4449-B475-C1EF3DB514AF}" srcOrd="5" destOrd="0" presId="urn:microsoft.com/office/officeart/2005/8/layout/hProcess3"/>
    <dgm:cxn modelId="{CEBB28D9-CB5B-466E-9DD1-4A6ECBF5AD51}" type="presParOf" srcId="{A9B3C4F9-C184-4449-B475-C1EF3DB514AF}" destId="{B3DE40F4-AB47-42E7-9156-EA0BECAA9CAA}" srcOrd="0" destOrd="0" presId="urn:microsoft.com/office/officeart/2005/8/layout/hProcess3"/>
    <dgm:cxn modelId="{13EF4C8A-6A05-45C3-BB14-A65A4DE0308C}" type="presParOf" srcId="{A9B3C4F9-C184-4449-B475-C1EF3DB514AF}" destId="{20E563A0-937C-43A7-A60F-01614D05C193}" srcOrd="1" destOrd="0" presId="urn:microsoft.com/office/officeart/2005/8/layout/hProcess3"/>
    <dgm:cxn modelId="{AD0C41F0-CC05-411E-8870-A7C6E7B0DEC1}" type="presParOf" srcId="{A9B3C4F9-C184-4449-B475-C1EF3DB514AF}" destId="{F727374A-9370-44F1-8CE8-75DD89FD1135}" srcOrd="2" destOrd="0" presId="urn:microsoft.com/office/officeart/2005/8/layout/hProcess3"/>
    <dgm:cxn modelId="{7B58A89A-CB61-458C-A0F9-23BADDD7728C}" type="presParOf" srcId="{A9B3C4F9-C184-4449-B475-C1EF3DB514AF}" destId="{F37EF02E-36ED-4A85-8898-4F88985FEB14}" srcOrd="3" destOrd="0" presId="urn:microsoft.com/office/officeart/2005/8/layout/hProcess3"/>
    <dgm:cxn modelId="{5AD19D6A-2467-4CD8-9AF4-68F43477FB33}" type="presParOf" srcId="{1FA25526-4892-4516-8F05-ACAEBD601709}" destId="{3DEABBC8-022F-417B-8FCE-3CB7A2C590E4}" srcOrd="6" destOrd="0" presId="urn:microsoft.com/office/officeart/2005/8/layout/hProcess3"/>
    <dgm:cxn modelId="{85CDCDBE-83BB-4A4E-B1F6-AE1BF889DEC4}" type="presParOf" srcId="{1FA25526-4892-4516-8F05-ACAEBD601709}" destId="{E9C9CF08-2849-4075-BE01-F51F95993198}" srcOrd="7" destOrd="0" presId="urn:microsoft.com/office/officeart/2005/8/layout/hProcess3"/>
    <dgm:cxn modelId="{987660AE-D6E8-4836-B13F-22D9870C564D}" type="presParOf" srcId="{E9C9CF08-2849-4075-BE01-F51F95993198}" destId="{4FDCB1AA-ADA7-4331-A42B-268AF9ED4083}" srcOrd="0" destOrd="0" presId="urn:microsoft.com/office/officeart/2005/8/layout/hProcess3"/>
    <dgm:cxn modelId="{DC7E1B1E-BE75-4967-8890-E5187C660735}" type="presParOf" srcId="{E9C9CF08-2849-4075-BE01-F51F95993198}" destId="{063E717E-F268-484A-A139-F42042499965}" srcOrd="1" destOrd="0" presId="urn:microsoft.com/office/officeart/2005/8/layout/hProcess3"/>
    <dgm:cxn modelId="{F31639EB-6881-4B6D-BD80-98D8FF9D517B}" type="presParOf" srcId="{E9C9CF08-2849-4075-BE01-F51F95993198}" destId="{2B2043C7-D5D1-45D1-A013-A570C2BDA83D}" srcOrd="2" destOrd="0" presId="urn:microsoft.com/office/officeart/2005/8/layout/hProcess3"/>
    <dgm:cxn modelId="{4E643CA3-CC47-4403-A0B5-EB98208036BD}" type="presParOf" srcId="{E9C9CF08-2849-4075-BE01-F51F95993198}" destId="{E9C771DA-A5F2-4170-9A35-2022A3831409}" srcOrd="3" destOrd="0" presId="urn:microsoft.com/office/officeart/2005/8/layout/hProcess3"/>
    <dgm:cxn modelId="{51425730-8401-41B6-934C-2F6110BAF18C}" type="presParOf" srcId="{1FA25526-4892-4516-8F05-ACAEBD601709}" destId="{1C18909D-85AB-4567-AABE-6A524FFC51F7}" srcOrd="8" destOrd="0" presId="urn:microsoft.com/office/officeart/2005/8/layout/hProcess3"/>
    <dgm:cxn modelId="{C2290088-16F2-48C9-8A41-D45059853DAD}" type="presParOf" srcId="{1FA25526-4892-4516-8F05-ACAEBD601709}" destId="{98951C10-40D0-426B-8904-6AF6436D6503}" srcOrd="9" destOrd="0" presId="urn:microsoft.com/office/officeart/2005/8/layout/hProcess3"/>
    <dgm:cxn modelId="{66B29234-1208-4286-9DD6-891CCEEE8787}" type="presParOf" srcId="{1FA25526-4892-4516-8F05-ACAEBD601709}" destId="{68D97C38-B64D-4AE6-9D4E-234525EF8B98}" srcOrd="10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4C20BAC-AA6F-438A-BEC6-B3D4BE52F5E2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BE196798-9277-4799-88CE-B01921854CFC}">
      <dgm:prSet/>
      <dgm:spPr/>
      <dgm:t>
        <a:bodyPr/>
        <a:lstStyle/>
        <a:p>
          <a:pPr>
            <a:lnSpc>
              <a:spcPct val="100000"/>
            </a:lnSpc>
          </a:pPr>
          <a:r>
            <a:rPr lang="nb-NO" b="0" i="0" dirty="0"/>
            <a:t>Hjemmeside for hvert emne</a:t>
          </a:r>
          <a:endParaRPr lang="en-US" dirty="0"/>
        </a:p>
      </dgm:t>
    </dgm:pt>
    <dgm:pt modelId="{B28FE430-4AFA-4107-B929-4B9E42D785E2}" type="parTrans" cxnId="{A6340990-7C1F-41C8-8B03-17327F9333BC}">
      <dgm:prSet/>
      <dgm:spPr/>
      <dgm:t>
        <a:bodyPr/>
        <a:lstStyle/>
        <a:p>
          <a:endParaRPr lang="en-US"/>
        </a:p>
      </dgm:t>
    </dgm:pt>
    <dgm:pt modelId="{E00A65E3-DA6C-4F1D-9396-C4E764355859}" type="sibTrans" cxnId="{A6340990-7C1F-41C8-8B03-17327F9333BC}">
      <dgm:prSet/>
      <dgm:spPr/>
      <dgm:t>
        <a:bodyPr/>
        <a:lstStyle/>
        <a:p>
          <a:endParaRPr lang="en-US"/>
        </a:p>
      </dgm:t>
    </dgm:pt>
    <dgm:pt modelId="{0DBD244B-060D-4BE3-9F02-C5734A3EC91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Pensum </a:t>
          </a:r>
          <a:r>
            <a:rPr lang="en-US" dirty="0" err="1"/>
            <a:t>og</a:t>
          </a:r>
          <a:r>
            <a:rPr lang="en-US" dirty="0"/>
            <a:t> </a:t>
          </a:r>
          <a:r>
            <a:rPr lang="en-US" dirty="0" err="1"/>
            <a:t>undervisningsressurser</a:t>
          </a:r>
          <a:endParaRPr lang="en-US" dirty="0"/>
        </a:p>
      </dgm:t>
    </dgm:pt>
    <dgm:pt modelId="{FB44020F-FFD8-4B60-A7CE-D71CA72E276D}" type="parTrans" cxnId="{F728D255-B4AF-4280-8183-A690B49AF601}">
      <dgm:prSet/>
      <dgm:spPr/>
      <dgm:t>
        <a:bodyPr/>
        <a:lstStyle/>
        <a:p>
          <a:endParaRPr lang="en-US"/>
        </a:p>
      </dgm:t>
    </dgm:pt>
    <dgm:pt modelId="{DC9F0805-D397-438C-B60F-EF9E99B25A15}" type="sibTrans" cxnId="{F728D255-B4AF-4280-8183-A690B49AF601}">
      <dgm:prSet/>
      <dgm:spPr/>
      <dgm:t>
        <a:bodyPr/>
        <a:lstStyle/>
        <a:p>
          <a:endParaRPr lang="en-US"/>
        </a:p>
      </dgm:t>
    </dgm:pt>
    <dgm:pt modelId="{69071F61-B204-4B11-8723-959952A759E3}">
      <dgm:prSet/>
      <dgm:spPr/>
      <dgm:t>
        <a:bodyPr/>
        <a:lstStyle/>
        <a:p>
          <a:pPr>
            <a:lnSpc>
              <a:spcPct val="100000"/>
            </a:lnSpc>
          </a:pPr>
          <a:r>
            <a:rPr lang="nb-NO" b="0" i="0" dirty="0"/>
            <a:t>Kvalifisering til eksamen </a:t>
          </a:r>
          <a:endParaRPr lang="en-US" dirty="0"/>
        </a:p>
      </dgm:t>
    </dgm:pt>
    <dgm:pt modelId="{73D4BD75-D7D0-4D1D-AB88-098673447A3A}" type="parTrans" cxnId="{DA2AE529-DB4B-471A-8DB4-E7F9433FCF02}">
      <dgm:prSet/>
      <dgm:spPr/>
      <dgm:t>
        <a:bodyPr/>
        <a:lstStyle/>
        <a:p>
          <a:endParaRPr lang="en-US"/>
        </a:p>
      </dgm:t>
    </dgm:pt>
    <dgm:pt modelId="{D2444D92-4843-4E72-B527-EF88E76CA141}" type="sibTrans" cxnId="{DA2AE529-DB4B-471A-8DB4-E7F9433FCF02}">
      <dgm:prSet/>
      <dgm:spPr/>
      <dgm:t>
        <a:bodyPr/>
        <a:lstStyle/>
        <a:p>
          <a:endParaRPr lang="en-US"/>
        </a:p>
      </dgm:t>
    </dgm:pt>
    <dgm:pt modelId="{470D90BE-58AB-4251-A19C-D47CDBE68586}">
      <dgm:prSet/>
      <dgm:spPr/>
      <dgm:t>
        <a:bodyPr/>
        <a:lstStyle/>
        <a:p>
          <a:pPr>
            <a:lnSpc>
              <a:spcPct val="100000"/>
            </a:lnSpc>
          </a:pPr>
          <a:r>
            <a:rPr lang="nb-NO" b="0" i="0" dirty="0"/>
            <a:t>Kommunisere med underviser og studenter</a:t>
          </a:r>
          <a:endParaRPr lang="en-US" dirty="0"/>
        </a:p>
      </dgm:t>
    </dgm:pt>
    <dgm:pt modelId="{F5A28677-052B-4DDC-BB29-48AEF6B13AA6}" type="parTrans" cxnId="{334AC989-9E77-4B54-A1E7-8ED49918A8CE}">
      <dgm:prSet/>
      <dgm:spPr/>
      <dgm:t>
        <a:bodyPr/>
        <a:lstStyle/>
        <a:p>
          <a:endParaRPr lang="en-US"/>
        </a:p>
      </dgm:t>
    </dgm:pt>
    <dgm:pt modelId="{072A80FB-619E-48BD-80BF-DCF4C8407EC0}" type="sibTrans" cxnId="{334AC989-9E77-4B54-A1E7-8ED49918A8CE}">
      <dgm:prSet/>
      <dgm:spPr/>
      <dgm:t>
        <a:bodyPr/>
        <a:lstStyle/>
        <a:p>
          <a:endParaRPr lang="en-US"/>
        </a:p>
      </dgm:t>
    </dgm:pt>
    <dgm:pt modelId="{9F28C99C-5FED-43EA-BF38-CC995E5643EC}" type="pres">
      <dgm:prSet presAssocID="{C4C20BAC-AA6F-438A-BEC6-B3D4BE52F5E2}" presName="root" presStyleCnt="0">
        <dgm:presLayoutVars>
          <dgm:dir/>
          <dgm:resizeHandles val="exact"/>
        </dgm:presLayoutVars>
      </dgm:prSet>
      <dgm:spPr/>
    </dgm:pt>
    <dgm:pt modelId="{2526E935-69E9-4D09-9ECE-B353D841DB55}" type="pres">
      <dgm:prSet presAssocID="{BE196798-9277-4799-88CE-B01921854CFC}" presName="compNode" presStyleCnt="0"/>
      <dgm:spPr/>
    </dgm:pt>
    <dgm:pt modelId="{1547A3E9-A106-43B5-B50D-F58BA881AFC0}" type="pres">
      <dgm:prSet presAssocID="{BE196798-9277-4799-88CE-B01921854CFC}" presName="bgRect" presStyleLbl="bgShp" presStyleIdx="0" presStyleCnt="4"/>
      <dgm:spPr/>
    </dgm:pt>
    <dgm:pt modelId="{73DC180C-236D-4B92-99CB-180F4213D0D6}" type="pres">
      <dgm:prSet presAssocID="{BE196798-9277-4799-88CE-B01921854CFC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us"/>
        </a:ext>
      </dgm:extLst>
    </dgm:pt>
    <dgm:pt modelId="{1AE667B3-42E5-4B87-BC0B-ED59D61F217E}" type="pres">
      <dgm:prSet presAssocID="{BE196798-9277-4799-88CE-B01921854CFC}" presName="spaceRect" presStyleCnt="0"/>
      <dgm:spPr/>
    </dgm:pt>
    <dgm:pt modelId="{F3BAEE2B-80E7-4AD1-AAB6-B3C0FE8BD553}" type="pres">
      <dgm:prSet presAssocID="{BE196798-9277-4799-88CE-B01921854CFC}" presName="parTx" presStyleLbl="revTx" presStyleIdx="0" presStyleCnt="4">
        <dgm:presLayoutVars>
          <dgm:chMax val="0"/>
          <dgm:chPref val="0"/>
        </dgm:presLayoutVars>
      </dgm:prSet>
      <dgm:spPr/>
    </dgm:pt>
    <dgm:pt modelId="{FD9977A0-23D0-4360-AD1B-9FDFEB45DD85}" type="pres">
      <dgm:prSet presAssocID="{E00A65E3-DA6C-4F1D-9396-C4E764355859}" presName="sibTrans" presStyleCnt="0"/>
      <dgm:spPr/>
    </dgm:pt>
    <dgm:pt modelId="{B9B86DE0-AFF5-47ED-9B08-DDB2A426671A}" type="pres">
      <dgm:prSet presAssocID="{0DBD244B-060D-4BE3-9F02-C5734A3EC917}" presName="compNode" presStyleCnt="0"/>
      <dgm:spPr/>
    </dgm:pt>
    <dgm:pt modelId="{3014D3A8-0B1B-4230-A699-60442C0C2FF4}" type="pres">
      <dgm:prSet presAssocID="{0DBD244B-060D-4BE3-9F02-C5734A3EC917}" presName="bgRect" presStyleLbl="bgShp" presStyleIdx="1" presStyleCnt="4"/>
      <dgm:spPr/>
    </dgm:pt>
    <dgm:pt modelId="{9884CCD6-F1DC-4314-8BB5-EF70BDFCFB13}" type="pres">
      <dgm:prSet presAssocID="{0DBD244B-060D-4BE3-9F02-C5734A3EC917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Klasserom"/>
        </a:ext>
      </dgm:extLst>
    </dgm:pt>
    <dgm:pt modelId="{242F8398-507B-4D8F-9581-1F790607BCEC}" type="pres">
      <dgm:prSet presAssocID="{0DBD244B-060D-4BE3-9F02-C5734A3EC917}" presName="spaceRect" presStyleCnt="0"/>
      <dgm:spPr/>
    </dgm:pt>
    <dgm:pt modelId="{1B80184B-5025-4EA4-BD84-23ECB7D915FB}" type="pres">
      <dgm:prSet presAssocID="{0DBD244B-060D-4BE3-9F02-C5734A3EC917}" presName="parTx" presStyleLbl="revTx" presStyleIdx="1" presStyleCnt="4">
        <dgm:presLayoutVars>
          <dgm:chMax val="0"/>
          <dgm:chPref val="0"/>
        </dgm:presLayoutVars>
      </dgm:prSet>
      <dgm:spPr/>
    </dgm:pt>
    <dgm:pt modelId="{4F1B0288-BD9B-486E-BF71-66AAAD82D419}" type="pres">
      <dgm:prSet presAssocID="{DC9F0805-D397-438C-B60F-EF9E99B25A15}" presName="sibTrans" presStyleCnt="0"/>
      <dgm:spPr/>
    </dgm:pt>
    <dgm:pt modelId="{65E111F6-CCDA-4BCD-AD66-BDA948279685}" type="pres">
      <dgm:prSet presAssocID="{69071F61-B204-4B11-8723-959952A759E3}" presName="compNode" presStyleCnt="0"/>
      <dgm:spPr/>
    </dgm:pt>
    <dgm:pt modelId="{D4D435CA-1E32-4178-B0E1-862A8AA84529}" type="pres">
      <dgm:prSet presAssocID="{69071F61-B204-4B11-8723-959952A759E3}" presName="bgRect" presStyleLbl="bgShp" presStyleIdx="2" presStyleCnt="4"/>
      <dgm:spPr/>
    </dgm:pt>
    <dgm:pt modelId="{930787AC-BDE8-4C56-B918-4EF58499A057}" type="pres">
      <dgm:prSet presAssocID="{69071F61-B204-4B11-8723-959952A759E3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iploma Roll"/>
        </a:ext>
      </dgm:extLst>
    </dgm:pt>
    <dgm:pt modelId="{439B94B5-AF54-4174-9D28-C2D5A49E1062}" type="pres">
      <dgm:prSet presAssocID="{69071F61-B204-4B11-8723-959952A759E3}" presName="spaceRect" presStyleCnt="0"/>
      <dgm:spPr/>
    </dgm:pt>
    <dgm:pt modelId="{7357FBF0-3349-4AAE-8187-76A176FA662B}" type="pres">
      <dgm:prSet presAssocID="{69071F61-B204-4B11-8723-959952A759E3}" presName="parTx" presStyleLbl="revTx" presStyleIdx="2" presStyleCnt="4">
        <dgm:presLayoutVars>
          <dgm:chMax val="0"/>
          <dgm:chPref val="0"/>
        </dgm:presLayoutVars>
      </dgm:prSet>
      <dgm:spPr/>
    </dgm:pt>
    <dgm:pt modelId="{C90D03A4-7DD9-49D3-96A3-D0F59763B26C}" type="pres">
      <dgm:prSet presAssocID="{D2444D92-4843-4E72-B527-EF88E76CA141}" presName="sibTrans" presStyleCnt="0"/>
      <dgm:spPr/>
    </dgm:pt>
    <dgm:pt modelId="{FC102C6B-CCF1-4C2E-B913-D8554749CA05}" type="pres">
      <dgm:prSet presAssocID="{470D90BE-58AB-4251-A19C-D47CDBE68586}" presName="compNode" presStyleCnt="0"/>
      <dgm:spPr/>
    </dgm:pt>
    <dgm:pt modelId="{9C90510F-3EA4-44FC-B81B-F93DF93FE34C}" type="pres">
      <dgm:prSet presAssocID="{470D90BE-58AB-4251-A19C-D47CDBE68586}" presName="bgRect" presStyleLbl="bgShp" presStyleIdx="3" presStyleCnt="4"/>
      <dgm:spPr/>
    </dgm:pt>
    <dgm:pt modelId="{F7E7FD43-6E69-45A3-AC83-3E290F2FBA30}" type="pres">
      <dgm:prSet presAssocID="{470D90BE-58AB-4251-A19C-D47CDBE68586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at"/>
        </a:ext>
      </dgm:extLst>
    </dgm:pt>
    <dgm:pt modelId="{58C7BED9-BA9F-4A63-B179-5AF66AA6D45A}" type="pres">
      <dgm:prSet presAssocID="{470D90BE-58AB-4251-A19C-D47CDBE68586}" presName="spaceRect" presStyleCnt="0"/>
      <dgm:spPr/>
    </dgm:pt>
    <dgm:pt modelId="{7F9FDFCF-BF82-410F-890E-35DBB611A253}" type="pres">
      <dgm:prSet presAssocID="{470D90BE-58AB-4251-A19C-D47CDBE68586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25B59F0A-D22B-4BEC-AA17-E5F79E189C6A}" type="presOf" srcId="{69071F61-B204-4B11-8723-959952A759E3}" destId="{7357FBF0-3349-4AAE-8187-76A176FA662B}" srcOrd="0" destOrd="0" presId="urn:microsoft.com/office/officeart/2018/2/layout/IconVerticalSolidList"/>
    <dgm:cxn modelId="{DA2AE529-DB4B-471A-8DB4-E7F9433FCF02}" srcId="{C4C20BAC-AA6F-438A-BEC6-B3D4BE52F5E2}" destId="{69071F61-B204-4B11-8723-959952A759E3}" srcOrd="2" destOrd="0" parTransId="{73D4BD75-D7D0-4D1D-AB88-098673447A3A}" sibTransId="{D2444D92-4843-4E72-B527-EF88E76CA141}"/>
    <dgm:cxn modelId="{B201F047-45DF-43E1-9120-25857184963B}" type="presOf" srcId="{BE196798-9277-4799-88CE-B01921854CFC}" destId="{F3BAEE2B-80E7-4AD1-AAB6-B3C0FE8BD553}" srcOrd="0" destOrd="0" presId="urn:microsoft.com/office/officeart/2018/2/layout/IconVerticalSolidList"/>
    <dgm:cxn modelId="{F728D255-B4AF-4280-8183-A690B49AF601}" srcId="{C4C20BAC-AA6F-438A-BEC6-B3D4BE52F5E2}" destId="{0DBD244B-060D-4BE3-9F02-C5734A3EC917}" srcOrd="1" destOrd="0" parTransId="{FB44020F-FFD8-4B60-A7CE-D71CA72E276D}" sibTransId="{DC9F0805-D397-438C-B60F-EF9E99B25A15}"/>
    <dgm:cxn modelId="{334AC989-9E77-4B54-A1E7-8ED49918A8CE}" srcId="{C4C20BAC-AA6F-438A-BEC6-B3D4BE52F5E2}" destId="{470D90BE-58AB-4251-A19C-D47CDBE68586}" srcOrd="3" destOrd="0" parTransId="{F5A28677-052B-4DDC-BB29-48AEF6B13AA6}" sibTransId="{072A80FB-619E-48BD-80BF-DCF4C8407EC0}"/>
    <dgm:cxn modelId="{A6340990-7C1F-41C8-8B03-17327F9333BC}" srcId="{C4C20BAC-AA6F-438A-BEC6-B3D4BE52F5E2}" destId="{BE196798-9277-4799-88CE-B01921854CFC}" srcOrd="0" destOrd="0" parTransId="{B28FE430-4AFA-4107-B929-4B9E42D785E2}" sibTransId="{E00A65E3-DA6C-4F1D-9396-C4E764355859}"/>
    <dgm:cxn modelId="{6FE7B6C2-B496-4999-872F-2F9B1B22DD86}" type="presOf" srcId="{470D90BE-58AB-4251-A19C-D47CDBE68586}" destId="{7F9FDFCF-BF82-410F-890E-35DBB611A253}" srcOrd="0" destOrd="0" presId="urn:microsoft.com/office/officeart/2018/2/layout/IconVerticalSolidList"/>
    <dgm:cxn modelId="{B7D715CE-034A-475F-A0D9-BD2EE297961A}" type="presOf" srcId="{0DBD244B-060D-4BE3-9F02-C5734A3EC917}" destId="{1B80184B-5025-4EA4-BD84-23ECB7D915FB}" srcOrd="0" destOrd="0" presId="urn:microsoft.com/office/officeart/2018/2/layout/IconVerticalSolidList"/>
    <dgm:cxn modelId="{795074EB-C9CB-4C8A-8F35-31CB921C947B}" type="presOf" srcId="{C4C20BAC-AA6F-438A-BEC6-B3D4BE52F5E2}" destId="{9F28C99C-5FED-43EA-BF38-CC995E5643EC}" srcOrd="0" destOrd="0" presId="urn:microsoft.com/office/officeart/2018/2/layout/IconVerticalSolidList"/>
    <dgm:cxn modelId="{E046C1D9-53DF-4F0D-BD90-BC85253205C0}" type="presParOf" srcId="{9F28C99C-5FED-43EA-BF38-CC995E5643EC}" destId="{2526E935-69E9-4D09-9ECE-B353D841DB55}" srcOrd="0" destOrd="0" presId="urn:microsoft.com/office/officeart/2018/2/layout/IconVerticalSolidList"/>
    <dgm:cxn modelId="{F839DB68-8726-4C28-9CD0-DDA14B94C94C}" type="presParOf" srcId="{2526E935-69E9-4D09-9ECE-B353D841DB55}" destId="{1547A3E9-A106-43B5-B50D-F58BA881AFC0}" srcOrd="0" destOrd="0" presId="urn:microsoft.com/office/officeart/2018/2/layout/IconVerticalSolidList"/>
    <dgm:cxn modelId="{91EAC956-F560-4207-8322-C39E4350A31F}" type="presParOf" srcId="{2526E935-69E9-4D09-9ECE-B353D841DB55}" destId="{73DC180C-236D-4B92-99CB-180F4213D0D6}" srcOrd="1" destOrd="0" presId="urn:microsoft.com/office/officeart/2018/2/layout/IconVerticalSolidList"/>
    <dgm:cxn modelId="{E051D3DE-F114-41CA-AD6D-7157F0C1E765}" type="presParOf" srcId="{2526E935-69E9-4D09-9ECE-B353D841DB55}" destId="{1AE667B3-42E5-4B87-BC0B-ED59D61F217E}" srcOrd="2" destOrd="0" presId="urn:microsoft.com/office/officeart/2018/2/layout/IconVerticalSolidList"/>
    <dgm:cxn modelId="{555DFA05-B1BC-46D7-92B7-184F06D955A4}" type="presParOf" srcId="{2526E935-69E9-4D09-9ECE-B353D841DB55}" destId="{F3BAEE2B-80E7-4AD1-AAB6-B3C0FE8BD553}" srcOrd="3" destOrd="0" presId="urn:microsoft.com/office/officeart/2018/2/layout/IconVerticalSolidList"/>
    <dgm:cxn modelId="{A076C9F1-6995-44B5-8F74-3449C4E5AACF}" type="presParOf" srcId="{9F28C99C-5FED-43EA-BF38-CC995E5643EC}" destId="{FD9977A0-23D0-4360-AD1B-9FDFEB45DD85}" srcOrd="1" destOrd="0" presId="urn:microsoft.com/office/officeart/2018/2/layout/IconVerticalSolidList"/>
    <dgm:cxn modelId="{8732C3A5-D21F-40DB-B1AB-5ED3D94B291A}" type="presParOf" srcId="{9F28C99C-5FED-43EA-BF38-CC995E5643EC}" destId="{B9B86DE0-AFF5-47ED-9B08-DDB2A426671A}" srcOrd="2" destOrd="0" presId="urn:microsoft.com/office/officeart/2018/2/layout/IconVerticalSolidList"/>
    <dgm:cxn modelId="{B06400D1-A986-41DC-B8FF-2AB96D73E2A5}" type="presParOf" srcId="{B9B86DE0-AFF5-47ED-9B08-DDB2A426671A}" destId="{3014D3A8-0B1B-4230-A699-60442C0C2FF4}" srcOrd="0" destOrd="0" presId="urn:microsoft.com/office/officeart/2018/2/layout/IconVerticalSolidList"/>
    <dgm:cxn modelId="{14BE3654-0432-4A7F-95C7-C5A5A54D4456}" type="presParOf" srcId="{B9B86DE0-AFF5-47ED-9B08-DDB2A426671A}" destId="{9884CCD6-F1DC-4314-8BB5-EF70BDFCFB13}" srcOrd="1" destOrd="0" presId="urn:microsoft.com/office/officeart/2018/2/layout/IconVerticalSolidList"/>
    <dgm:cxn modelId="{1A13BF96-F42A-45D8-B985-12F688041689}" type="presParOf" srcId="{B9B86DE0-AFF5-47ED-9B08-DDB2A426671A}" destId="{242F8398-507B-4D8F-9581-1F790607BCEC}" srcOrd="2" destOrd="0" presId="urn:microsoft.com/office/officeart/2018/2/layout/IconVerticalSolidList"/>
    <dgm:cxn modelId="{79DC502E-EF2F-4F6C-AAB2-1FE0A49B07C4}" type="presParOf" srcId="{B9B86DE0-AFF5-47ED-9B08-DDB2A426671A}" destId="{1B80184B-5025-4EA4-BD84-23ECB7D915FB}" srcOrd="3" destOrd="0" presId="urn:microsoft.com/office/officeart/2018/2/layout/IconVerticalSolidList"/>
    <dgm:cxn modelId="{8F3AAB60-08FD-492A-AAF9-791796A417BE}" type="presParOf" srcId="{9F28C99C-5FED-43EA-BF38-CC995E5643EC}" destId="{4F1B0288-BD9B-486E-BF71-66AAAD82D419}" srcOrd="3" destOrd="0" presId="urn:microsoft.com/office/officeart/2018/2/layout/IconVerticalSolidList"/>
    <dgm:cxn modelId="{639099BC-6D4A-432A-A734-F079BD60B671}" type="presParOf" srcId="{9F28C99C-5FED-43EA-BF38-CC995E5643EC}" destId="{65E111F6-CCDA-4BCD-AD66-BDA948279685}" srcOrd="4" destOrd="0" presId="urn:microsoft.com/office/officeart/2018/2/layout/IconVerticalSolidList"/>
    <dgm:cxn modelId="{87E7F5F0-58C9-4AAE-9742-29C58C4B5D7D}" type="presParOf" srcId="{65E111F6-CCDA-4BCD-AD66-BDA948279685}" destId="{D4D435CA-1E32-4178-B0E1-862A8AA84529}" srcOrd="0" destOrd="0" presId="urn:microsoft.com/office/officeart/2018/2/layout/IconVerticalSolidList"/>
    <dgm:cxn modelId="{94541029-BB24-42CF-B6DE-40BCE1CD51E5}" type="presParOf" srcId="{65E111F6-CCDA-4BCD-AD66-BDA948279685}" destId="{930787AC-BDE8-4C56-B918-4EF58499A057}" srcOrd="1" destOrd="0" presId="urn:microsoft.com/office/officeart/2018/2/layout/IconVerticalSolidList"/>
    <dgm:cxn modelId="{7181EF15-AC9C-4407-9217-547C6735D559}" type="presParOf" srcId="{65E111F6-CCDA-4BCD-AD66-BDA948279685}" destId="{439B94B5-AF54-4174-9D28-C2D5A49E1062}" srcOrd="2" destOrd="0" presId="urn:microsoft.com/office/officeart/2018/2/layout/IconVerticalSolidList"/>
    <dgm:cxn modelId="{107D09D1-28CB-4273-86E7-0AEC9F327E3E}" type="presParOf" srcId="{65E111F6-CCDA-4BCD-AD66-BDA948279685}" destId="{7357FBF0-3349-4AAE-8187-76A176FA662B}" srcOrd="3" destOrd="0" presId="urn:microsoft.com/office/officeart/2018/2/layout/IconVerticalSolidList"/>
    <dgm:cxn modelId="{9A30EBA6-D276-41A1-A59A-1D5057166C19}" type="presParOf" srcId="{9F28C99C-5FED-43EA-BF38-CC995E5643EC}" destId="{C90D03A4-7DD9-49D3-96A3-D0F59763B26C}" srcOrd="5" destOrd="0" presId="urn:microsoft.com/office/officeart/2018/2/layout/IconVerticalSolidList"/>
    <dgm:cxn modelId="{781FA526-6247-44EA-B156-C915CFFE8868}" type="presParOf" srcId="{9F28C99C-5FED-43EA-BF38-CC995E5643EC}" destId="{FC102C6B-CCF1-4C2E-B913-D8554749CA05}" srcOrd="6" destOrd="0" presId="urn:microsoft.com/office/officeart/2018/2/layout/IconVerticalSolidList"/>
    <dgm:cxn modelId="{968A0452-6B7F-4B68-8736-D2701B50AAB6}" type="presParOf" srcId="{FC102C6B-CCF1-4C2E-B913-D8554749CA05}" destId="{9C90510F-3EA4-44FC-B81B-F93DF93FE34C}" srcOrd="0" destOrd="0" presId="urn:microsoft.com/office/officeart/2018/2/layout/IconVerticalSolidList"/>
    <dgm:cxn modelId="{4EC0A5BD-B158-4360-93E4-C057B1501222}" type="presParOf" srcId="{FC102C6B-CCF1-4C2E-B913-D8554749CA05}" destId="{F7E7FD43-6E69-45A3-AC83-3E290F2FBA30}" srcOrd="1" destOrd="0" presId="urn:microsoft.com/office/officeart/2018/2/layout/IconVerticalSolidList"/>
    <dgm:cxn modelId="{70882DCC-9A63-4EB7-A5F3-2D3661327D9E}" type="presParOf" srcId="{FC102C6B-CCF1-4C2E-B913-D8554749CA05}" destId="{58C7BED9-BA9F-4A63-B179-5AF66AA6D45A}" srcOrd="2" destOrd="0" presId="urn:microsoft.com/office/officeart/2018/2/layout/IconVerticalSolidList"/>
    <dgm:cxn modelId="{F0FE7F25-32CA-4B4B-8B2E-DA0F22B45D25}" type="presParOf" srcId="{FC102C6B-CCF1-4C2E-B913-D8554749CA05}" destId="{7F9FDFCF-BF82-410F-890E-35DBB611A253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46DAE0BF-198E-459C-9F1A-5BE1D88F4886}" type="doc">
      <dgm:prSet loTypeId="urn:microsoft.com/office/officeart/2005/8/layout/vList2" loCatId="list" qsTypeId="urn:microsoft.com/office/officeart/2005/8/quickstyle/simple1" qsCatId="simple" csTypeId="urn:microsoft.com/office/officeart/2005/8/colors/accent4_2" csCatId="accent4" phldr="1"/>
      <dgm:spPr/>
      <dgm:t>
        <a:bodyPr/>
        <a:lstStyle/>
        <a:p>
          <a:endParaRPr lang="en-US"/>
        </a:p>
      </dgm:t>
    </dgm:pt>
    <dgm:pt modelId="{50B419E2-94B8-4CEE-B27E-4ACD16DEB57E}">
      <dgm:prSet/>
      <dgm:spPr/>
      <dgm:t>
        <a:bodyPr/>
        <a:lstStyle/>
        <a:p>
          <a:r>
            <a:rPr lang="nb-NO" dirty="0">
              <a:solidFill>
                <a:schemeClr val="tx1"/>
              </a:solidFill>
            </a:rPr>
            <a:t>Personlige e-postkonto </a:t>
          </a:r>
        </a:p>
      </dgm:t>
    </dgm:pt>
    <dgm:pt modelId="{F1C5A493-C5A9-4817-B446-9BCB8C2CB4A0}" type="parTrans" cxnId="{087507B6-0A22-4F74-B125-99F480C4EAD1}">
      <dgm:prSet/>
      <dgm:spPr/>
      <dgm:t>
        <a:bodyPr/>
        <a:lstStyle/>
        <a:p>
          <a:endParaRPr lang="en-US"/>
        </a:p>
      </dgm:t>
    </dgm:pt>
    <dgm:pt modelId="{889157BC-1DD8-4F53-8799-CA3AFA000BA0}" type="sibTrans" cxnId="{087507B6-0A22-4F74-B125-99F480C4EAD1}">
      <dgm:prSet/>
      <dgm:spPr/>
      <dgm:t>
        <a:bodyPr/>
        <a:lstStyle/>
        <a:p>
          <a:endParaRPr lang="en-US"/>
        </a:p>
      </dgm:t>
    </dgm:pt>
    <dgm:pt modelId="{B91DFE97-591E-4B77-97B6-79E81F183122}">
      <dgm:prSet/>
      <dgm:spPr/>
      <dgm:t>
        <a:bodyPr/>
        <a:lstStyle/>
        <a:p>
          <a:r>
            <a:rPr lang="en-GB" dirty="0">
              <a:solidFill>
                <a:schemeClr val="tx1"/>
              </a:solidFill>
            </a:rPr>
            <a:t>Via </a:t>
          </a:r>
          <a:r>
            <a:rPr lang="en-US" dirty="0">
              <a:hlinkClick xmlns:r="http://schemas.openxmlformats.org/officeDocument/2006/relationships" r:id="rId1"/>
            </a:rPr>
            <a:t>Log on - </a:t>
          </a:r>
          <a:r>
            <a:rPr lang="en-US" dirty="0" err="1">
              <a:hlinkClick xmlns:r="http://schemas.openxmlformats.org/officeDocument/2006/relationships" r:id="rId1"/>
            </a:rPr>
            <a:t>Brukerinfo</a:t>
          </a:r>
          <a:r>
            <a:rPr lang="en-US" dirty="0">
              <a:hlinkClick xmlns:r="http://schemas.openxmlformats.org/officeDocument/2006/relationships" r:id="rId1"/>
            </a:rPr>
            <a:t> - University of Oslo (uio.no)</a:t>
          </a:r>
          <a:r>
            <a:rPr lang="en-US" dirty="0"/>
            <a:t> </a:t>
          </a:r>
          <a:r>
            <a:rPr lang="nb-NO" dirty="0">
              <a:solidFill>
                <a:schemeClr val="tx1"/>
              </a:solidFill>
            </a:rPr>
            <a:t>kan man koble mailadressen til privat e-postkonto</a:t>
          </a:r>
          <a:endParaRPr lang="en-US" dirty="0">
            <a:solidFill>
              <a:schemeClr val="tx1"/>
            </a:solidFill>
          </a:endParaRPr>
        </a:p>
      </dgm:t>
    </dgm:pt>
    <dgm:pt modelId="{A46460A9-80AB-46E0-BC45-7EA76B194E04}" type="parTrans" cxnId="{4417609C-CFDF-4D9C-9DAF-7156C0F1B74A}">
      <dgm:prSet/>
      <dgm:spPr/>
      <dgm:t>
        <a:bodyPr/>
        <a:lstStyle/>
        <a:p>
          <a:endParaRPr lang="en-US"/>
        </a:p>
      </dgm:t>
    </dgm:pt>
    <dgm:pt modelId="{B6162358-6551-48FA-BA5D-6F1855800358}" type="sibTrans" cxnId="{4417609C-CFDF-4D9C-9DAF-7156C0F1B74A}">
      <dgm:prSet/>
      <dgm:spPr/>
      <dgm:t>
        <a:bodyPr/>
        <a:lstStyle/>
        <a:p>
          <a:endParaRPr lang="en-US"/>
        </a:p>
      </dgm:t>
    </dgm:pt>
    <dgm:pt modelId="{DC28404D-9F5C-4FFD-9FE6-58918167AF35}">
      <dgm:prSet/>
      <dgm:spPr/>
      <dgm:t>
        <a:bodyPr/>
        <a:lstStyle/>
        <a:p>
          <a:r>
            <a:rPr lang="nb-NO" dirty="0">
              <a:solidFill>
                <a:schemeClr val="tx1"/>
              </a:solidFill>
            </a:rPr>
            <a:t>Logg inn via Mine studier, på </a:t>
          </a:r>
          <a:r>
            <a:rPr lang="en-GB" dirty="0">
              <a:hlinkClick xmlns:r="http://schemas.openxmlformats.org/officeDocument/2006/relationships" r:id="rId2"/>
            </a:rPr>
            <a:t>Outlook (uio.no)</a:t>
          </a:r>
          <a:r>
            <a:rPr lang="en-GB" dirty="0"/>
            <a:t>,</a:t>
          </a:r>
          <a:r>
            <a:rPr lang="nb-NO" dirty="0">
              <a:solidFill>
                <a:schemeClr val="tx1"/>
              </a:solidFill>
            </a:rPr>
            <a:t>eller koble til mailapp på mobilen</a:t>
          </a:r>
          <a:endParaRPr lang="en-US" dirty="0">
            <a:solidFill>
              <a:schemeClr val="tx1"/>
            </a:solidFill>
          </a:endParaRPr>
        </a:p>
      </dgm:t>
    </dgm:pt>
    <dgm:pt modelId="{A39B0978-9E90-41FD-8794-31143B0A8BD8}" type="parTrans" cxnId="{A9DF8A7C-2760-44EB-8089-258D9FA78013}">
      <dgm:prSet/>
      <dgm:spPr/>
      <dgm:t>
        <a:bodyPr/>
        <a:lstStyle/>
        <a:p>
          <a:endParaRPr lang="en-GB"/>
        </a:p>
      </dgm:t>
    </dgm:pt>
    <dgm:pt modelId="{058F8547-C97F-4140-82AF-1C0AA046B6D5}" type="sibTrans" cxnId="{A9DF8A7C-2760-44EB-8089-258D9FA78013}">
      <dgm:prSet/>
      <dgm:spPr/>
      <dgm:t>
        <a:bodyPr/>
        <a:lstStyle/>
        <a:p>
          <a:endParaRPr lang="en-GB"/>
        </a:p>
      </dgm:t>
    </dgm:pt>
    <dgm:pt modelId="{EF7BB9E3-75A2-46CE-B732-DADDAB8C52E1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Kontakt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undervisere</a:t>
          </a:r>
          <a:r>
            <a:rPr lang="en-US" dirty="0">
              <a:solidFill>
                <a:schemeClr val="tx1"/>
              </a:solidFill>
            </a:rPr>
            <a:t>, </a:t>
          </a:r>
          <a:r>
            <a:rPr lang="en-US" dirty="0" err="1">
              <a:solidFill>
                <a:schemeClr val="tx1"/>
              </a:solidFill>
            </a:rPr>
            <a:t>studieadministrasjonen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eller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medstudenter</a:t>
          </a:r>
          <a:endParaRPr lang="en-US" dirty="0">
            <a:solidFill>
              <a:schemeClr val="tx1"/>
            </a:solidFill>
          </a:endParaRPr>
        </a:p>
      </dgm:t>
    </dgm:pt>
    <dgm:pt modelId="{625CB585-5B4D-4876-A531-E54061CBBE44}" type="parTrans" cxnId="{90A7D694-2198-46DF-A6F4-DAD8E97EF019}">
      <dgm:prSet/>
      <dgm:spPr/>
      <dgm:t>
        <a:bodyPr/>
        <a:lstStyle/>
        <a:p>
          <a:endParaRPr lang="en-GB"/>
        </a:p>
      </dgm:t>
    </dgm:pt>
    <dgm:pt modelId="{0F2BA612-99C7-4D28-8F56-C13265A909A6}" type="sibTrans" cxnId="{90A7D694-2198-46DF-A6F4-DAD8E97EF019}">
      <dgm:prSet/>
      <dgm:spPr/>
      <dgm:t>
        <a:bodyPr/>
        <a:lstStyle/>
        <a:p>
          <a:endParaRPr lang="en-GB"/>
        </a:p>
      </dgm:t>
    </dgm:pt>
    <dgm:pt modelId="{4AAD3E45-3B66-4C26-B841-25D81D11D7B7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Har du </a:t>
          </a:r>
          <a:r>
            <a:rPr lang="en-US" dirty="0" err="1">
              <a:solidFill>
                <a:schemeClr val="tx1"/>
              </a:solidFill>
            </a:rPr>
            <a:t>problemer</a:t>
          </a:r>
          <a:r>
            <a:rPr lang="en-US" dirty="0">
              <a:solidFill>
                <a:schemeClr val="tx1"/>
              </a:solidFill>
            </a:rPr>
            <a:t> med </a:t>
          </a:r>
          <a:r>
            <a:rPr lang="en-US" dirty="0" err="1">
              <a:solidFill>
                <a:schemeClr val="tx1"/>
              </a:solidFill>
            </a:rPr>
            <a:t>kontoen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eller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innlogging</a:t>
          </a:r>
          <a:r>
            <a:rPr lang="en-US" dirty="0">
              <a:solidFill>
                <a:schemeClr val="tx1"/>
              </a:solidFill>
            </a:rPr>
            <a:t>? Du </a:t>
          </a:r>
          <a:r>
            <a:rPr lang="en-US" dirty="0" err="1">
              <a:solidFill>
                <a:schemeClr val="tx1"/>
              </a:solidFill>
            </a:rPr>
            <a:t>får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hjelp</a:t>
          </a:r>
          <a:r>
            <a:rPr lang="en-US" dirty="0">
              <a:solidFill>
                <a:schemeClr val="tx1"/>
              </a:solidFill>
            </a:rPr>
            <a:t> av </a:t>
          </a:r>
          <a:r>
            <a:rPr lang="en-GB" dirty="0">
              <a:hlinkClick xmlns:r="http://schemas.openxmlformats.org/officeDocument/2006/relationships" r:id="rId3"/>
            </a:rPr>
            <a:t>IT-</a:t>
          </a:r>
          <a:r>
            <a:rPr lang="en-GB" dirty="0" err="1">
              <a:hlinkClick xmlns:r="http://schemas.openxmlformats.org/officeDocument/2006/relationships" r:id="rId3"/>
            </a:rPr>
            <a:t>tjenester</a:t>
          </a:r>
          <a:r>
            <a:rPr lang="en-GB" dirty="0">
              <a:hlinkClick xmlns:r="http://schemas.openxmlformats.org/officeDocument/2006/relationships" r:id="rId3"/>
            </a:rPr>
            <a:t> - </a:t>
          </a:r>
          <a:r>
            <a:rPr lang="en-GB" dirty="0" err="1">
              <a:hlinkClick xmlns:r="http://schemas.openxmlformats.org/officeDocument/2006/relationships" r:id="rId3"/>
            </a:rPr>
            <a:t>Universitetet</a:t>
          </a:r>
          <a:r>
            <a:rPr lang="en-GB" dirty="0">
              <a:hlinkClick xmlns:r="http://schemas.openxmlformats.org/officeDocument/2006/relationships" r:id="rId3"/>
            </a:rPr>
            <a:t> </a:t>
          </a:r>
          <a:r>
            <a:rPr lang="en-GB" dirty="0" err="1">
              <a:hlinkClick xmlns:r="http://schemas.openxmlformats.org/officeDocument/2006/relationships" r:id="rId3"/>
            </a:rPr>
            <a:t>i</a:t>
          </a:r>
          <a:r>
            <a:rPr lang="en-GB" dirty="0">
              <a:hlinkClick xmlns:r="http://schemas.openxmlformats.org/officeDocument/2006/relationships" r:id="rId3"/>
            </a:rPr>
            <a:t> Oslo (uio.no)</a:t>
          </a:r>
          <a:endParaRPr lang="en-US" dirty="0">
            <a:solidFill>
              <a:schemeClr val="tx1"/>
            </a:solidFill>
          </a:endParaRPr>
        </a:p>
      </dgm:t>
    </dgm:pt>
    <dgm:pt modelId="{2F443DFC-FFEE-42CF-A524-0198CF71F7C4}" type="parTrans" cxnId="{A63186C9-B84A-4D72-BC34-FDC93FF056E4}">
      <dgm:prSet/>
      <dgm:spPr/>
      <dgm:t>
        <a:bodyPr/>
        <a:lstStyle/>
        <a:p>
          <a:endParaRPr lang="en-GB"/>
        </a:p>
      </dgm:t>
    </dgm:pt>
    <dgm:pt modelId="{EB96BC48-B8B7-4DD4-B8BB-981AA8DDA7B5}" type="sibTrans" cxnId="{A63186C9-B84A-4D72-BC34-FDC93FF056E4}">
      <dgm:prSet/>
      <dgm:spPr/>
      <dgm:t>
        <a:bodyPr/>
        <a:lstStyle/>
        <a:p>
          <a:endParaRPr lang="en-GB"/>
        </a:p>
      </dgm:t>
    </dgm:pt>
    <dgm:pt modelId="{E43FBE6E-01DE-43C4-A8E1-5EC670ADA08B}" type="pres">
      <dgm:prSet presAssocID="{46DAE0BF-198E-459C-9F1A-5BE1D88F4886}" presName="linear" presStyleCnt="0">
        <dgm:presLayoutVars>
          <dgm:animLvl val="lvl"/>
          <dgm:resizeHandles val="exact"/>
        </dgm:presLayoutVars>
      </dgm:prSet>
      <dgm:spPr/>
    </dgm:pt>
    <dgm:pt modelId="{DDC261D5-9B9A-4205-B1B2-629388B8A5A1}" type="pres">
      <dgm:prSet presAssocID="{DC28404D-9F5C-4FFD-9FE6-58918167AF35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F144FDDE-FF3D-47C8-9949-147A6C904A57}" type="pres">
      <dgm:prSet presAssocID="{058F8547-C97F-4140-82AF-1C0AA046B6D5}" presName="spacer" presStyleCnt="0"/>
      <dgm:spPr/>
    </dgm:pt>
    <dgm:pt modelId="{BC6B47C4-63D0-4DAE-B239-4DB566B6C311}" type="pres">
      <dgm:prSet presAssocID="{50B419E2-94B8-4CEE-B27E-4ACD16DEB57E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D06272E0-BEE0-4960-80AA-70E4949D2003}" type="pres">
      <dgm:prSet presAssocID="{889157BC-1DD8-4F53-8799-CA3AFA000BA0}" presName="spacer" presStyleCnt="0"/>
      <dgm:spPr/>
    </dgm:pt>
    <dgm:pt modelId="{C88B3D87-9865-42C4-AA2E-DA6BBC095FF8}" type="pres">
      <dgm:prSet presAssocID="{EF7BB9E3-75A2-46CE-B732-DADDAB8C52E1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483C57BB-B36D-4508-B27E-AA821D1C49DF}" type="pres">
      <dgm:prSet presAssocID="{0F2BA612-99C7-4D28-8F56-C13265A909A6}" presName="spacer" presStyleCnt="0"/>
      <dgm:spPr/>
    </dgm:pt>
    <dgm:pt modelId="{BDD588BF-29F7-453A-A054-A5E09D6AFC79}" type="pres">
      <dgm:prSet presAssocID="{B91DFE97-591E-4B77-97B6-79E81F183122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76C2287A-75ED-43ED-9283-B6723E557EFE}" type="pres">
      <dgm:prSet presAssocID="{B6162358-6551-48FA-BA5D-6F1855800358}" presName="spacer" presStyleCnt="0"/>
      <dgm:spPr/>
    </dgm:pt>
    <dgm:pt modelId="{0F80E1E2-56E1-4E0A-9772-0050450DC711}" type="pres">
      <dgm:prSet presAssocID="{4AAD3E45-3B66-4C26-B841-25D81D11D7B7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D0013633-C355-4BD3-A840-0B7BACFF3852}" type="presOf" srcId="{50B419E2-94B8-4CEE-B27E-4ACD16DEB57E}" destId="{BC6B47C4-63D0-4DAE-B239-4DB566B6C311}" srcOrd="0" destOrd="0" presId="urn:microsoft.com/office/officeart/2005/8/layout/vList2"/>
    <dgm:cxn modelId="{331E0163-FFD3-40F9-91E6-AA3D2B65AD83}" type="presOf" srcId="{46DAE0BF-198E-459C-9F1A-5BE1D88F4886}" destId="{E43FBE6E-01DE-43C4-A8E1-5EC670ADA08B}" srcOrd="0" destOrd="0" presId="urn:microsoft.com/office/officeart/2005/8/layout/vList2"/>
    <dgm:cxn modelId="{94DFA367-0C9E-4532-B97A-F940D661A2F0}" type="presOf" srcId="{DC28404D-9F5C-4FFD-9FE6-58918167AF35}" destId="{DDC261D5-9B9A-4205-B1B2-629388B8A5A1}" srcOrd="0" destOrd="0" presId="urn:microsoft.com/office/officeart/2005/8/layout/vList2"/>
    <dgm:cxn modelId="{CECF936C-A0BD-4430-8904-97919F053945}" type="presOf" srcId="{EF7BB9E3-75A2-46CE-B732-DADDAB8C52E1}" destId="{C88B3D87-9865-42C4-AA2E-DA6BBC095FF8}" srcOrd="0" destOrd="0" presId="urn:microsoft.com/office/officeart/2005/8/layout/vList2"/>
    <dgm:cxn modelId="{A9DF8A7C-2760-44EB-8089-258D9FA78013}" srcId="{46DAE0BF-198E-459C-9F1A-5BE1D88F4886}" destId="{DC28404D-9F5C-4FFD-9FE6-58918167AF35}" srcOrd="0" destOrd="0" parTransId="{A39B0978-9E90-41FD-8794-31143B0A8BD8}" sibTransId="{058F8547-C97F-4140-82AF-1C0AA046B6D5}"/>
    <dgm:cxn modelId="{90A7D694-2198-46DF-A6F4-DAD8E97EF019}" srcId="{46DAE0BF-198E-459C-9F1A-5BE1D88F4886}" destId="{EF7BB9E3-75A2-46CE-B732-DADDAB8C52E1}" srcOrd="2" destOrd="0" parTransId="{625CB585-5B4D-4876-A531-E54061CBBE44}" sibTransId="{0F2BA612-99C7-4D28-8F56-C13265A909A6}"/>
    <dgm:cxn modelId="{4417609C-CFDF-4D9C-9DAF-7156C0F1B74A}" srcId="{46DAE0BF-198E-459C-9F1A-5BE1D88F4886}" destId="{B91DFE97-591E-4B77-97B6-79E81F183122}" srcOrd="3" destOrd="0" parTransId="{A46460A9-80AB-46E0-BC45-7EA76B194E04}" sibTransId="{B6162358-6551-48FA-BA5D-6F1855800358}"/>
    <dgm:cxn modelId="{087507B6-0A22-4F74-B125-99F480C4EAD1}" srcId="{46DAE0BF-198E-459C-9F1A-5BE1D88F4886}" destId="{50B419E2-94B8-4CEE-B27E-4ACD16DEB57E}" srcOrd="1" destOrd="0" parTransId="{F1C5A493-C5A9-4817-B446-9BCB8C2CB4A0}" sibTransId="{889157BC-1DD8-4F53-8799-CA3AFA000BA0}"/>
    <dgm:cxn modelId="{A63186C9-B84A-4D72-BC34-FDC93FF056E4}" srcId="{46DAE0BF-198E-459C-9F1A-5BE1D88F4886}" destId="{4AAD3E45-3B66-4C26-B841-25D81D11D7B7}" srcOrd="4" destOrd="0" parTransId="{2F443DFC-FFEE-42CF-A524-0198CF71F7C4}" sibTransId="{EB96BC48-B8B7-4DD4-B8BB-981AA8DDA7B5}"/>
    <dgm:cxn modelId="{D08D9CF5-1967-42DE-93BC-8DE0FE64D40F}" type="presOf" srcId="{4AAD3E45-3B66-4C26-B841-25D81D11D7B7}" destId="{0F80E1E2-56E1-4E0A-9772-0050450DC711}" srcOrd="0" destOrd="0" presId="urn:microsoft.com/office/officeart/2005/8/layout/vList2"/>
    <dgm:cxn modelId="{7B24A4F9-3054-42BB-A862-0CE0BD177F36}" type="presOf" srcId="{B91DFE97-591E-4B77-97B6-79E81F183122}" destId="{BDD588BF-29F7-453A-A054-A5E09D6AFC79}" srcOrd="0" destOrd="0" presId="urn:microsoft.com/office/officeart/2005/8/layout/vList2"/>
    <dgm:cxn modelId="{3BACBF40-0249-4F7A-A192-935F9E266860}" type="presParOf" srcId="{E43FBE6E-01DE-43C4-A8E1-5EC670ADA08B}" destId="{DDC261D5-9B9A-4205-B1B2-629388B8A5A1}" srcOrd="0" destOrd="0" presId="urn:microsoft.com/office/officeart/2005/8/layout/vList2"/>
    <dgm:cxn modelId="{A4978EBC-E7D6-4204-A8F0-2D1E147C2822}" type="presParOf" srcId="{E43FBE6E-01DE-43C4-A8E1-5EC670ADA08B}" destId="{F144FDDE-FF3D-47C8-9949-147A6C904A57}" srcOrd="1" destOrd="0" presId="urn:microsoft.com/office/officeart/2005/8/layout/vList2"/>
    <dgm:cxn modelId="{7E45A051-A3B4-4080-9138-C69C68CAF213}" type="presParOf" srcId="{E43FBE6E-01DE-43C4-A8E1-5EC670ADA08B}" destId="{BC6B47C4-63D0-4DAE-B239-4DB566B6C311}" srcOrd="2" destOrd="0" presId="urn:microsoft.com/office/officeart/2005/8/layout/vList2"/>
    <dgm:cxn modelId="{339B41D5-E6DD-4BF6-A4D0-A869FF40A3FC}" type="presParOf" srcId="{E43FBE6E-01DE-43C4-A8E1-5EC670ADA08B}" destId="{D06272E0-BEE0-4960-80AA-70E4949D2003}" srcOrd="3" destOrd="0" presId="urn:microsoft.com/office/officeart/2005/8/layout/vList2"/>
    <dgm:cxn modelId="{937327AF-97FD-4CD8-8304-B2125219B506}" type="presParOf" srcId="{E43FBE6E-01DE-43C4-A8E1-5EC670ADA08B}" destId="{C88B3D87-9865-42C4-AA2E-DA6BBC095FF8}" srcOrd="4" destOrd="0" presId="urn:microsoft.com/office/officeart/2005/8/layout/vList2"/>
    <dgm:cxn modelId="{8C2E367E-A07F-4A50-B9A9-DEB08A0983FB}" type="presParOf" srcId="{E43FBE6E-01DE-43C4-A8E1-5EC670ADA08B}" destId="{483C57BB-B36D-4508-B27E-AA821D1C49DF}" srcOrd="5" destOrd="0" presId="urn:microsoft.com/office/officeart/2005/8/layout/vList2"/>
    <dgm:cxn modelId="{42F51B43-A5DB-458E-AB6E-15E243BFF039}" type="presParOf" srcId="{E43FBE6E-01DE-43C4-A8E1-5EC670ADA08B}" destId="{BDD588BF-29F7-453A-A054-A5E09D6AFC79}" srcOrd="6" destOrd="0" presId="urn:microsoft.com/office/officeart/2005/8/layout/vList2"/>
    <dgm:cxn modelId="{66AF8E61-2785-4B81-8C22-55A6403F2D64}" type="presParOf" srcId="{E43FBE6E-01DE-43C4-A8E1-5EC670ADA08B}" destId="{76C2287A-75ED-43ED-9283-B6723E557EFE}" srcOrd="7" destOrd="0" presId="urn:microsoft.com/office/officeart/2005/8/layout/vList2"/>
    <dgm:cxn modelId="{E7A5816A-C619-4DA5-A6D6-CCB24BF7E66A}" type="presParOf" srcId="{E43FBE6E-01DE-43C4-A8E1-5EC670ADA08B}" destId="{0F80E1E2-56E1-4E0A-9772-0050450DC711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733A3DFE-14C8-42B4-91A9-F9543A30D6FA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21A29A11-D671-448C-ACA5-72A367571DD6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i="0"/>
            <a:t>Jobbklar gir deg hjelp til å utvikle ferdigheter og bruke verktøy som er nyttige både under studiene og i arbeidslivet. </a:t>
          </a:r>
          <a:endParaRPr lang="en-GB"/>
        </a:p>
      </dgm:t>
    </dgm:pt>
    <dgm:pt modelId="{6561E3EC-0773-443A-B4B4-23E031D64D8C}" type="parTrans" cxnId="{22ABF009-1175-4E5E-8DBE-8604779EF0AF}">
      <dgm:prSet/>
      <dgm:spPr/>
      <dgm:t>
        <a:bodyPr/>
        <a:lstStyle/>
        <a:p>
          <a:endParaRPr lang="en-GB"/>
        </a:p>
      </dgm:t>
    </dgm:pt>
    <dgm:pt modelId="{F74CCE15-5C2C-4CBA-B0CE-E574EB2F0DB8}" type="sibTrans" cxnId="{22ABF009-1175-4E5E-8DBE-8604779EF0AF}">
      <dgm:prSet/>
      <dgm:spPr/>
      <dgm:t>
        <a:bodyPr/>
        <a:lstStyle/>
        <a:p>
          <a:endParaRPr lang="en-GB"/>
        </a:p>
      </dgm:t>
    </dgm:pt>
    <dgm:pt modelId="{ADD9060E-FC77-4AC0-B106-DEEBCA4813FF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b="0" i="0"/>
            <a:t>Du får også informasjon om utlysninger, småjobber og fellesarrangementer på studieprogrammet ditt. </a:t>
          </a:r>
          <a:endParaRPr lang="en-GB"/>
        </a:p>
      </dgm:t>
    </dgm:pt>
    <dgm:pt modelId="{94A740B5-EB24-493D-A487-F9DF9C456567}" type="parTrans" cxnId="{0924917E-E301-44C2-A6F2-3E8D74327EF0}">
      <dgm:prSet/>
      <dgm:spPr/>
      <dgm:t>
        <a:bodyPr/>
        <a:lstStyle/>
        <a:p>
          <a:endParaRPr lang="en-GB"/>
        </a:p>
      </dgm:t>
    </dgm:pt>
    <dgm:pt modelId="{2DF5D074-13C7-4596-884F-C9C792773B70}" type="sibTrans" cxnId="{0924917E-E301-44C2-A6F2-3E8D74327EF0}">
      <dgm:prSet/>
      <dgm:spPr/>
      <dgm:t>
        <a:bodyPr/>
        <a:lstStyle/>
        <a:p>
          <a:endParaRPr lang="en-GB"/>
        </a:p>
      </dgm:t>
    </dgm:pt>
    <dgm:pt modelId="{62A9CBD5-9944-4FFE-A46F-B37692359563}" type="pres">
      <dgm:prSet presAssocID="{733A3DFE-14C8-42B4-91A9-F9543A30D6FA}" presName="root" presStyleCnt="0">
        <dgm:presLayoutVars>
          <dgm:dir/>
          <dgm:resizeHandles val="exact"/>
        </dgm:presLayoutVars>
      </dgm:prSet>
      <dgm:spPr/>
    </dgm:pt>
    <dgm:pt modelId="{E3F3992D-C36F-4310-B9BE-3136D6B25A2B}" type="pres">
      <dgm:prSet presAssocID="{21A29A11-D671-448C-ACA5-72A367571DD6}" presName="compNode" presStyleCnt="0"/>
      <dgm:spPr/>
    </dgm:pt>
    <dgm:pt modelId="{DB1DDCBD-E79C-43A9-BD5D-A625684CC673}" type="pres">
      <dgm:prSet presAssocID="{21A29A11-D671-448C-ACA5-72A367571DD6}" presName="bgRect" presStyleLbl="bgShp" presStyleIdx="0" presStyleCnt="2"/>
      <dgm:spPr/>
    </dgm:pt>
    <dgm:pt modelId="{432732E3-CAEE-4725-A381-F16D5F54A301}" type="pres">
      <dgm:prSet presAssocID="{21A29A11-D671-448C-ACA5-72A367571DD6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Verktøy"/>
        </a:ext>
      </dgm:extLst>
    </dgm:pt>
    <dgm:pt modelId="{97F820B1-274F-454A-8123-C142B1771A24}" type="pres">
      <dgm:prSet presAssocID="{21A29A11-D671-448C-ACA5-72A367571DD6}" presName="spaceRect" presStyleCnt="0"/>
      <dgm:spPr/>
    </dgm:pt>
    <dgm:pt modelId="{CC51C4AE-AE5A-463E-B6AD-87C8C22043A3}" type="pres">
      <dgm:prSet presAssocID="{21A29A11-D671-448C-ACA5-72A367571DD6}" presName="parTx" presStyleLbl="revTx" presStyleIdx="0" presStyleCnt="2">
        <dgm:presLayoutVars>
          <dgm:chMax val="0"/>
          <dgm:chPref val="0"/>
        </dgm:presLayoutVars>
      </dgm:prSet>
      <dgm:spPr/>
    </dgm:pt>
    <dgm:pt modelId="{061A0CCD-7CE9-4AAE-9C78-4DA6283FF33A}" type="pres">
      <dgm:prSet presAssocID="{F74CCE15-5C2C-4CBA-B0CE-E574EB2F0DB8}" presName="sibTrans" presStyleCnt="0"/>
      <dgm:spPr/>
    </dgm:pt>
    <dgm:pt modelId="{41051A87-19DF-4B8A-AD77-A0DEEAA133A7}" type="pres">
      <dgm:prSet presAssocID="{ADD9060E-FC77-4AC0-B106-DEEBCA4813FF}" presName="compNode" presStyleCnt="0"/>
      <dgm:spPr/>
    </dgm:pt>
    <dgm:pt modelId="{71BE2FF0-092C-4C76-86CA-FD45AE8AB29C}" type="pres">
      <dgm:prSet presAssocID="{ADD9060E-FC77-4AC0-B106-DEEBCA4813FF}" presName="bgRect" presStyleLbl="bgShp" presStyleIdx="1" presStyleCnt="2"/>
      <dgm:spPr/>
    </dgm:pt>
    <dgm:pt modelId="{88127243-2C7D-48B0-BBFF-0F449869C6BF}" type="pres">
      <dgm:prSet presAssocID="{ADD9060E-FC77-4AC0-B106-DEEBCA4813FF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ustomer Review"/>
        </a:ext>
      </dgm:extLst>
    </dgm:pt>
    <dgm:pt modelId="{AE6C31DF-C31C-4ED7-8BDD-2B4668E5DAD1}" type="pres">
      <dgm:prSet presAssocID="{ADD9060E-FC77-4AC0-B106-DEEBCA4813FF}" presName="spaceRect" presStyleCnt="0"/>
      <dgm:spPr/>
    </dgm:pt>
    <dgm:pt modelId="{C9DD7005-F37C-4FB0-BF94-F8A90E8A006C}" type="pres">
      <dgm:prSet presAssocID="{ADD9060E-FC77-4AC0-B106-DEEBCA4813FF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22ABF009-1175-4E5E-8DBE-8604779EF0AF}" srcId="{733A3DFE-14C8-42B4-91A9-F9543A30D6FA}" destId="{21A29A11-D671-448C-ACA5-72A367571DD6}" srcOrd="0" destOrd="0" parTransId="{6561E3EC-0773-443A-B4B4-23E031D64D8C}" sibTransId="{F74CCE15-5C2C-4CBA-B0CE-E574EB2F0DB8}"/>
    <dgm:cxn modelId="{C8A20570-A80A-4DB2-A3C8-E5729DB1233A}" type="presOf" srcId="{733A3DFE-14C8-42B4-91A9-F9543A30D6FA}" destId="{62A9CBD5-9944-4FFE-A46F-B37692359563}" srcOrd="0" destOrd="0" presId="urn:microsoft.com/office/officeart/2018/2/layout/IconVerticalSolidList"/>
    <dgm:cxn modelId="{75DDC154-1531-4CBE-ADA9-3C6C5E344254}" type="presOf" srcId="{21A29A11-D671-448C-ACA5-72A367571DD6}" destId="{CC51C4AE-AE5A-463E-B6AD-87C8C22043A3}" srcOrd="0" destOrd="0" presId="urn:microsoft.com/office/officeart/2018/2/layout/IconVerticalSolidList"/>
    <dgm:cxn modelId="{0924917E-E301-44C2-A6F2-3E8D74327EF0}" srcId="{733A3DFE-14C8-42B4-91A9-F9543A30D6FA}" destId="{ADD9060E-FC77-4AC0-B106-DEEBCA4813FF}" srcOrd="1" destOrd="0" parTransId="{94A740B5-EB24-493D-A487-F9DF9C456567}" sibTransId="{2DF5D074-13C7-4596-884F-C9C792773B70}"/>
    <dgm:cxn modelId="{A25F05EA-8070-41CB-BBEA-8E82F102650A}" type="presOf" srcId="{ADD9060E-FC77-4AC0-B106-DEEBCA4813FF}" destId="{C9DD7005-F37C-4FB0-BF94-F8A90E8A006C}" srcOrd="0" destOrd="0" presId="urn:microsoft.com/office/officeart/2018/2/layout/IconVerticalSolidList"/>
    <dgm:cxn modelId="{30FF321A-C75C-4DBB-BC8A-7FA93B9DC6CA}" type="presParOf" srcId="{62A9CBD5-9944-4FFE-A46F-B37692359563}" destId="{E3F3992D-C36F-4310-B9BE-3136D6B25A2B}" srcOrd="0" destOrd="0" presId="urn:microsoft.com/office/officeart/2018/2/layout/IconVerticalSolidList"/>
    <dgm:cxn modelId="{9570DCFC-8607-439B-BCDA-6A0BAE3BB074}" type="presParOf" srcId="{E3F3992D-C36F-4310-B9BE-3136D6B25A2B}" destId="{DB1DDCBD-E79C-43A9-BD5D-A625684CC673}" srcOrd="0" destOrd="0" presId="urn:microsoft.com/office/officeart/2018/2/layout/IconVerticalSolidList"/>
    <dgm:cxn modelId="{A29EB7BC-0DAD-438F-9883-40D248C50B5C}" type="presParOf" srcId="{E3F3992D-C36F-4310-B9BE-3136D6B25A2B}" destId="{432732E3-CAEE-4725-A381-F16D5F54A301}" srcOrd="1" destOrd="0" presId="urn:microsoft.com/office/officeart/2018/2/layout/IconVerticalSolidList"/>
    <dgm:cxn modelId="{7D0CB227-437D-4772-B00A-3AEF1E841B58}" type="presParOf" srcId="{E3F3992D-C36F-4310-B9BE-3136D6B25A2B}" destId="{97F820B1-274F-454A-8123-C142B1771A24}" srcOrd="2" destOrd="0" presId="urn:microsoft.com/office/officeart/2018/2/layout/IconVerticalSolidList"/>
    <dgm:cxn modelId="{85F763BE-841E-41F8-AA4A-9B84866A4EB4}" type="presParOf" srcId="{E3F3992D-C36F-4310-B9BE-3136D6B25A2B}" destId="{CC51C4AE-AE5A-463E-B6AD-87C8C22043A3}" srcOrd="3" destOrd="0" presId="urn:microsoft.com/office/officeart/2018/2/layout/IconVerticalSolidList"/>
    <dgm:cxn modelId="{3680AF39-534B-459F-AB0A-0DDE55379389}" type="presParOf" srcId="{62A9CBD5-9944-4FFE-A46F-B37692359563}" destId="{061A0CCD-7CE9-4AAE-9C78-4DA6283FF33A}" srcOrd="1" destOrd="0" presId="urn:microsoft.com/office/officeart/2018/2/layout/IconVerticalSolidList"/>
    <dgm:cxn modelId="{6220E14E-F52C-4207-A435-B64A17C2BE00}" type="presParOf" srcId="{62A9CBD5-9944-4FFE-A46F-B37692359563}" destId="{41051A87-19DF-4B8A-AD77-A0DEEAA133A7}" srcOrd="2" destOrd="0" presId="urn:microsoft.com/office/officeart/2018/2/layout/IconVerticalSolidList"/>
    <dgm:cxn modelId="{F4DEB7AE-D3A3-4310-AB6D-924CC5B0E581}" type="presParOf" srcId="{41051A87-19DF-4B8A-AD77-A0DEEAA133A7}" destId="{71BE2FF0-092C-4C76-86CA-FD45AE8AB29C}" srcOrd="0" destOrd="0" presId="urn:microsoft.com/office/officeart/2018/2/layout/IconVerticalSolidList"/>
    <dgm:cxn modelId="{24EEAD6F-9D9E-40FF-9C6D-0B4CD3E2CD2B}" type="presParOf" srcId="{41051A87-19DF-4B8A-AD77-A0DEEAA133A7}" destId="{88127243-2C7D-48B0-BBFF-0F449869C6BF}" srcOrd="1" destOrd="0" presId="urn:microsoft.com/office/officeart/2018/2/layout/IconVerticalSolidList"/>
    <dgm:cxn modelId="{B2DAB9A8-136F-409E-9014-0DBFB31320A5}" type="presParOf" srcId="{41051A87-19DF-4B8A-AD77-A0DEEAA133A7}" destId="{AE6C31DF-C31C-4ED7-8BDD-2B4668E5DAD1}" srcOrd="2" destOrd="0" presId="urn:microsoft.com/office/officeart/2018/2/layout/IconVerticalSolidList"/>
    <dgm:cxn modelId="{623A6174-7D3E-46B0-8354-CAA90D1FF696}" type="presParOf" srcId="{41051A87-19DF-4B8A-AD77-A0DEEAA133A7}" destId="{C9DD7005-F37C-4FB0-BF94-F8A90E8A006C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7393B1-B644-4B8C-8170-0EA0B62E12D6}">
      <dsp:nvSpPr>
        <dsp:cNvPr id="0" name=""/>
        <dsp:cNvSpPr/>
      </dsp:nvSpPr>
      <dsp:spPr>
        <a:xfrm>
          <a:off x="938760" y="40205"/>
          <a:ext cx="4694520" cy="1467037"/>
        </a:xfrm>
        <a:prstGeom prst="rect">
          <a:avLst/>
        </a:prstGeom>
        <a:solidFill>
          <a:schemeClr val="lt1">
            <a:alpha val="55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3674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 err="1"/>
            <a:t>Personlig</a:t>
          </a:r>
          <a:r>
            <a:rPr lang="en-US" sz="2700" kern="1200" dirty="0"/>
            <a:t> </a:t>
          </a:r>
          <a:r>
            <a:rPr lang="en-US" sz="2700" kern="1200" dirty="0" err="1"/>
            <a:t>sjekkliste</a:t>
          </a:r>
          <a:r>
            <a:rPr lang="en-US" sz="2700" kern="1200" dirty="0"/>
            <a:t> med </a:t>
          </a:r>
          <a:r>
            <a:rPr lang="en-US" sz="2700" kern="1200" dirty="0" err="1"/>
            <a:t>oppgaver</a:t>
          </a:r>
          <a:r>
            <a:rPr lang="en-US" sz="2700" kern="1200" dirty="0"/>
            <a:t> for </a:t>
          </a:r>
          <a:r>
            <a:rPr lang="en-US" sz="2700" kern="1200" dirty="0" err="1"/>
            <a:t>studiestart</a:t>
          </a:r>
          <a:endParaRPr lang="en-US" sz="2700" kern="1200" dirty="0"/>
        </a:p>
      </dsp:txBody>
      <dsp:txXfrm>
        <a:off x="938760" y="40205"/>
        <a:ext cx="4694520" cy="1467037"/>
      </dsp:txXfrm>
    </dsp:sp>
    <dsp:sp modelId="{821F370F-5A8F-49F9-BAE1-9B7BD1A587C2}">
      <dsp:nvSpPr>
        <dsp:cNvPr id="0" name=""/>
        <dsp:cNvSpPr/>
      </dsp:nvSpPr>
      <dsp:spPr>
        <a:xfrm>
          <a:off x="743155" y="238497"/>
          <a:ext cx="1026926" cy="71999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1000" r="-1000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6C13BBA8-26D5-463F-A4FA-8CA84E6A8A87}">
      <dsp:nvSpPr>
        <dsp:cNvPr id="0" name=""/>
        <dsp:cNvSpPr/>
      </dsp:nvSpPr>
      <dsp:spPr>
        <a:xfrm>
          <a:off x="6034233" y="40205"/>
          <a:ext cx="4694520" cy="1467037"/>
        </a:xfrm>
        <a:prstGeom prst="rect">
          <a:avLst/>
        </a:prstGeom>
        <a:solidFill>
          <a:schemeClr val="lt1">
            <a:alpha val="55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3674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700" kern="1200" dirty="0"/>
            <a:t>Beskjeder fra underviser</a:t>
          </a:r>
          <a:endParaRPr lang="en-US" sz="2700" kern="1200" dirty="0"/>
        </a:p>
      </dsp:txBody>
      <dsp:txXfrm>
        <a:off x="6034233" y="40205"/>
        <a:ext cx="4694520" cy="1467037"/>
      </dsp:txXfrm>
    </dsp:sp>
    <dsp:sp modelId="{402D72F6-CC07-4714-9339-AF6BB61975F1}">
      <dsp:nvSpPr>
        <dsp:cNvPr id="0" name=""/>
        <dsp:cNvSpPr/>
      </dsp:nvSpPr>
      <dsp:spPr>
        <a:xfrm>
          <a:off x="5838628" y="191392"/>
          <a:ext cx="1026926" cy="814203"/>
        </a:xfrm>
        <a:prstGeom prst="rect">
          <a:avLst/>
        </a:prstGeom>
        <a:blipFill rotWithShape="1">
          <a:blip xmlns:r="http://schemas.openxmlformats.org/officeDocument/2006/relationships" r:embed="rId3"/>
          <a:srcRect/>
          <a:stretch>
            <a:fillRect t="-24000" b="-24000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73E86E66-871F-457C-BA8E-DC96D2DF2F2A}">
      <dsp:nvSpPr>
        <dsp:cNvPr id="0" name=""/>
        <dsp:cNvSpPr/>
      </dsp:nvSpPr>
      <dsp:spPr>
        <a:xfrm>
          <a:off x="938760" y="1675137"/>
          <a:ext cx="4694520" cy="1467037"/>
        </a:xfrm>
        <a:prstGeom prst="rect">
          <a:avLst/>
        </a:prstGeom>
        <a:solidFill>
          <a:schemeClr val="lt1">
            <a:alpha val="55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3674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700" kern="1200" dirty="0"/>
            <a:t>Personlig timeplan som kan synkroniseres med kalender på mobil</a:t>
          </a:r>
          <a:endParaRPr lang="en-US" sz="2700" kern="1200" dirty="0"/>
        </a:p>
      </dsp:txBody>
      <dsp:txXfrm>
        <a:off x="938760" y="1675137"/>
        <a:ext cx="4694520" cy="1467037"/>
      </dsp:txXfrm>
    </dsp:sp>
    <dsp:sp modelId="{B80A647A-0C47-45E5-A103-EFE1ADF4B8EF}">
      <dsp:nvSpPr>
        <dsp:cNvPr id="0" name=""/>
        <dsp:cNvSpPr/>
      </dsp:nvSpPr>
      <dsp:spPr>
        <a:xfrm>
          <a:off x="743155" y="1826324"/>
          <a:ext cx="1026926" cy="814203"/>
        </a:xfrm>
        <a:prstGeom prst="rect">
          <a:avLst/>
        </a:prstGeom>
        <a:blipFill rotWithShape="1">
          <a:blip xmlns:r="http://schemas.openxmlformats.org/officeDocument/2006/relationships" r:embed="rId4"/>
          <a:srcRect/>
          <a:stretch>
            <a:fillRect t="-27000" b="-27000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1EDCEFAF-5FD2-4CD1-862B-5EC7B49D7A2B}">
      <dsp:nvSpPr>
        <dsp:cNvPr id="0" name=""/>
        <dsp:cNvSpPr/>
      </dsp:nvSpPr>
      <dsp:spPr>
        <a:xfrm>
          <a:off x="6034233" y="1675137"/>
          <a:ext cx="4694520" cy="1467037"/>
        </a:xfrm>
        <a:prstGeom prst="rect">
          <a:avLst/>
        </a:prstGeom>
        <a:solidFill>
          <a:schemeClr val="lt1">
            <a:alpha val="55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3674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700" kern="1200" dirty="0"/>
            <a:t>Snarveier til andre ressurser</a:t>
          </a:r>
          <a:endParaRPr lang="en-US" sz="2700" kern="1200" dirty="0"/>
        </a:p>
      </dsp:txBody>
      <dsp:txXfrm>
        <a:off x="6034233" y="1675137"/>
        <a:ext cx="4694520" cy="1467037"/>
      </dsp:txXfrm>
    </dsp:sp>
    <dsp:sp modelId="{455DB11D-0313-4421-BB7B-AB67AE09FCBC}">
      <dsp:nvSpPr>
        <dsp:cNvPr id="0" name=""/>
        <dsp:cNvSpPr/>
      </dsp:nvSpPr>
      <dsp:spPr>
        <a:xfrm>
          <a:off x="5838628" y="1842044"/>
          <a:ext cx="1026926" cy="782764"/>
        </a:xfrm>
        <a:prstGeom prst="rect">
          <a:avLst/>
        </a:prstGeom>
        <a:blipFill rotWithShape="1">
          <a:blip xmlns:r="http://schemas.openxmlformats.org/officeDocument/2006/relationships" r:embed="rId5"/>
          <a:srcRect/>
          <a:stretch>
            <a:fillRect t="-27000" b="-27000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B3C802A-21D7-442C-A236-3241734B0610}">
      <dsp:nvSpPr>
        <dsp:cNvPr id="0" name=""/>
        <dsp:cNvSpPr/>
      </dsp:nvSpPr>
      <dsp:spPr>
        <a:xfrm>
          <a:off x="938760" y="3310069"/>
          <a:ext cx="4694520" cy="1467037"/>
        </a:xfrm>
        <a:prstGeom prst="rect">
          <a:avLst/>
        </a:prstGeom>
        <a:solidFill>
          <a:schemeClr val="lt1">
            <a:alpha val="55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3674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700" kern="1200" dirty="0"/>
            <a:t>Lenker til studieprogram og emnesider</a:t>
          </a:r>
          <a:endParaRPr lang="en-US" sz="2700" kern="1200" dirty="0"/>
        </a:p>
      </dsp:txBody>
      <dsp:txXfrm>
        <a:off x="938760" y="3310069"/>
        <a:ext cx="4694520" cy="1467037"/>
      </dsp:txXfrm>
    </dsp:sp>
    <dsp:sp modelId="{4A9A6353-C4DE-4582-938E-EC8642B42B38}">
      <dsp:nvSpPr>
        <dsp:cNvPr id="0" name=""/>
        <dsp:cNvSpPr/>
      </dsp:nvSpPr>
      <dsp:spPr>
        <a:xfrm>
          <a:off x="743155" y="3461256"/>
          <a:ext cx="1026926" cy="814203"/>
        </a:xfrm>
        <a:prstGeom prst="rect">
          <a:avLst/>
        </a:prstGeom>
        <a:blipFill rotWithShape="1">
          <a:blip xmlns:r="http://schemas.openxmlformats.org/officeDocument/2006/relationships" r:embed="rId6"/>
          <a:srcRect/>
          <a:stretch>
            <a:fillRect t="-26000" b="-26000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DCDCFE1-3935-4D57-A02B-044EBDC50BBE}">
      <dsp:nvSpPr>
        <dsp:cNvPr id="0" name=""/>
        <dsp:cNvSpPr/>
      </dsp:nvSpPr>
      <dsp:spPr>
        <a:xfrm>
          <a:off x="6034233" y="3310069"/>
          <a:ext cx="4694520" cy="1467037"/>
        </a:xfrm>
        <a:prstGeom prst="rect">
          <a:avLst/>
        </a:prstGeom>
        <a:solidFill>
          <a:schemeClr val="lt1">
            <a:alpha val="55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3674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700" kern="1200" dirty="0"/>
            <a:t>Lenker til tilrettelegging, permisjon og fravær</a:t>
          </a:r>
          <a:endParaRPr lang="en-US" sz="2700" kern="1200" dirty="0"/>
        </a:p>
      </dsp:txBody>
      <dsp:txXfrm>
        <a:off x="6034233" y="3310069"/>
        <a:ext cx="4694520" cy="1467037"/>
      </dsp:txXfrm>
    </dsp:sp>
    <dsp:sp modelId="{8FF26971-1ED7-4FF6-944F-2458FCBAE00D}">
      <dsp:nvSpPr>
        <dsp:cNvPr id="0" name=""/>
        <dsp:cNvSpPr/>
      </dsp:nvSpPr>
      <dsp:spPr>
        <a:xfrm>
          <a:off x="5838628" y="3492873"/>
          <a:ext cx="1026926" cy="750970"/>
        </a:xfrm>
        <a:prstGeom prst="rect">
          <a:avLst/>
        </a:prstGeom>
        <a:blipFill rotWithShape="1">
          <a:blip xmlns:r="http://schemas.openxmlformats.org/officeDocument/2006/relationships" r:embed="rId7"/>
          <a:srcRect/>
          <a:stretch>
            <a:fillRect t="-25000" b="-25000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B0BB40-0C9A-4F5D-9CFB-E24C7B01EAEC}">
      <dsp:nvSpPr>
        <dsp:cNvPr id="0" name=""/>
        <dsp:cNvSpPr/>
      </dsp:nvSpPr>
      <dsp:spPr>
        <a:xfrm>
          <a:off x="3360" y="417441"/>
          <a:ext cx="2666322" cy="159979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kern="1200" dirty="0"/>
            <a:t>Studieveiledning, IKOS-emner, oppbygging, utsatt studiestart, permisjon, redusert studieprogresjon: </a:t>
          </a:r>
          <a:r>
            <a:rPr lang="nb-NO" sz="1800" kern="1200" dirty="0">
              <a:hlinkClick xmlns:r="http://schemas.openxmlformats.org/officeDocument/2006/relationships" r:id="rId1"/>
            </a:rPr>
            <a:t>studentinfo@ikos.uio.no</a:t>
          </a:r>
          <a:r>
            <a:rPr lang="nb-NO" sz="1800" kern="1200" dirty="0"/>
            <a:t> </a:t>
          </a:r>
          <a:endParaRPr lang="en-US" sz="1800" kern="1200" dirty="0"/>
        </a:p>
      </dsp:txBody>
      <dsp:txXfrm>
        <a:off x="3360" y="417441"/>
        <a:ext cx="2666322" cy="1599793"/>
      </dsp:txXfrm>
    </dsp:sp>
    <dsp:sp modelId="{C117C79A-03CA-4C49-B983-18B203DF969C}">
      <dsp:nvSpPr>
        <dsp:cNvPr id="0" name=""/>
        <dsp:cNvSpPr/>
      </dsp:nvSpPr>
      <dsp:spPr>
        <a:xfrm>
          <a:off x="2936316" y="417441"/>
          <a:ext cx="2666322" cy="159979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Fravær på obligatoriske aktiviteter, må du fylle ut nettskjema – ikke send e-post! </a:t>
          </a:r>
          <a:r>
            <a:rPr lang="nn-NO" sz="1600" kern="1200" dirty="0">
              <a:hlinkClick xmlns:r="http://schemas.openxmlformats.org/officeDocument/2006/relationships" r:id="rId2"/>
            </a:rPr>
            <a:t>Obligatoriske </a:t>
          </a:r>
          <a:r>
            <a:rPr lang="nn-NO" sz="1600" kern="1200" dirty="0" err="1">
              <a:hlinkClick xmlns:r="http://schemas.openxmlformats.org/officeDocument/2006/relationships" r:id="rId2"/>
            </a:rPr>
            <a:t>aktiviteter</a:t>
          </a:r>
          <a:r>
            <a:rPr lang="nn-NO" sz="1600" kern="1200" dirty="0">
              <a:hlinkClick xmlns:r="http://schemas.openxmlformats.org/officeDocument/2006/relationships" r:id="rId2"/>
            </a:rPr>
            <a:t>/oppmøte i </a:t>
          </a:r>
          <a:r>
            <a:rPr lang="nn-NO" sz="1600" kern="1200" dirty="0" err="1">
              <a:hlinkClick xmlns:r="http://schemas.openxmlformats.org/officeDocument/2006/relationships" r:id="rId2"/>
            </a:rPr>
            <a:t>undervisningen</a:t>
          </a:r>
          <a:r>
            <a:rPr lang="nn-NO" sz="1600" kern="1200" dirty="0">
              <a:hlinkClick xmlns:r="http://schemas.openxmlformats.org/officeDocument/2006/relationships" r:id="rId2"/>
            </a:rPr>
            <a:t> på HF - Universitetet i Oslo (uio.no)</a:t>
          </a:r>
          <a:endParaRPr lang="en-US" sz="1600" kern="1200" dirty="0"/>
        </a:p>
      </dsp:txBody>
      <dsp:txXfrm>
        <a:off x="2936316" y="417441"/>
        <a:ext cx="2666322" cy="1599793"/>
      </dsp:txXfrm>
    </dsp:sp>
    <dsp:sp modelId="{9C6D622E-AD7A-4E6E-A605-DB90EF970084}">
      <dsp:nvSpPr>
        <dsp:cNvPr id="0" name=""/>
        <dsp:cNvSpPr/>
      </dsp:nvSpPr>
      <dsp:spPr>
        <a:xfrm>
          <a:off x="5869271" y="417441"/>
          <a:ext cx="2666322" cy="159979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Skoleeksamen, tilrettelagt eksamen, </a:t>
          </a:r>
          <a:r>
            <a:rPr lang="nb-NO" sz="1600" kern="1200" dirty="0" err="1"/>
            <a:t>sykdompå</a:t>
          </a:r>
          <a:r>
            <a:rPr lang="nb-NO" sz="1600" kern="1200" dirty="0"/>
            <a:t> eksamen: </a:t>
          </a:r>
          <a:r>
            <a:rPr lang="en-GB" sz="1600" kern="1200" dirty="0">
              <a:hlinkClick xmlns:r="http://schemas.openxmlformats.org/officeDocument/2006/relationships" r:id="rId3"/>
            </a:rPr>
            <a:t>HF-</a:t>
          </a:r>
          <a:r>
            <a:rPr lang="en-GB" sz="1600" kern="1200" dirty="0" err="1">
              <a:hlinkClick xmlns:r="http://schemas.openxmlformats.org/officeDocument/2006/relationships" r:id="rId3"/>
            </a:rPr>
            <a:t>studieinfo</a:t>
          </a:r>
          <a:r>
            <a:rPr lang="en-GB" sz="1600" kern="1200" dirty="0">
              <a:hlinkClick xmlns:r="http://schemas.openxmlformats.org/officeDocument/2006/relationships" r:id="rId3"/>
            </a:rPr>
            <a:t> - Det </a:t>
          </a:r>
          <a:r>
            <a:rPr lang="en-GB" sz="1600" kern="1200" dirty="0" err="1">
              <a:hlinkClick xmlns:r="http://schemas.openxmlformats.org/officeDocument/2006/relationships" r:id="rId3"/>
            </a:rPr>
            <a:t>humanistiske</a:t>
          </a:r>
          <a:r>
            <a:rPr lang="en-GB" sz="1600" kern="1200" dirty="0">
              <a:hlinkClick xmlns:r="http://schemas.openxmlformats.org/officeDocument/2006/relationships" r:id="rId3"/>
            </a:rPr>
            <a:t> </a:t>
          </a:r>
          <a:r>
            <a:rPr lang="en-GB" sz="1600" kern="1200" dirty="0" err="1">
              <a:hlinkClick xmlns:r="http://schemas.openxmlformats.org/officeDocument/2006/relationships" r:id="rId3"/>
            </a:rPr>
            <a:t>fakultet</a:t>
          </a:r>
          <a:r>
            <a:rPr lang="en-GB" sz="1600" kern="1200" dirty="0">
              <a:hlinkClick xmlns:r="http://schemas.openxmlformats.org/officeDocument/2006/relationships" r:id="rId3"/>
            </a:rPr>
            <a:t> (uio.no)</a:t>
          </a:r>
          <a:endParaRPr lang="en-US" sz="1600" kern="1200" dirty="0"/>
        </a:p>
      </dsp:txBody>
      <dsp:txXfrm>
        <a:off x="5869271" y="417441"/>
        <a:ext cx="2666322" cy="1599793"/>
      </dsp:txXfrm>
    </dsp:sp>
    <dsp:sp modelId="{35A60791-5A19-47C0-B23C-0E75A3C7F91D}">
      <dsp:nvSpPr>
        <dsp:cNvPr id="0" name=""/>
        <dsp:cNvSpPr/>
      </dsp:nvSpPr>
      <dsp:spPr>
        <a:xfrm>
          <a:off x="8802226" y="417441"/>
          <a:ext cx="2666322" cy="159979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Semesteroppgave, 3-dagers hjemmeeksamen: </a:t>
          </a:r>
          <a:r>
            <a:rPr lang="nb-NO" sz="1600" kern="1200">
              <a:hlinkClick xmlns:r="http://schemas.openxmlformats.org/officeDocument/2006/relationships" r:id="rId1"/>
            </a:rPr>
            <a:t>studentinfo@ikos.uio.no</a:t>
          </a:r>
          <a:r>
            <a:rPr lang="nb-NO" sz="1600" kern="1200"/>
            <a:t> </a:t>
          </a:r>
          <a:endParaRPr lang="en-US" sz="1600" kern="1200"/>
        </a:p>
      </dsp:txBody>
      <dsp:txXfrm>
        <a:off x="8802226" y="417441"/>
        <a:ext cx="2666322" cy="1599793"/>
      </dsp:txXfrm>
    </dsp:sp>
    <dsp:sp modelId="{0745DFD2-5052-4AE6-802E-898517761DE0}">
      <dsp:nvSpPr>
        <dsp:cNvPr id="0" name=""/>
        <dsp:cNvSpPr/>
      </dsp:nvSpPr>
      <dsp:spPr>
        <a:xfrm>
          <a:off x="3360" y="2283867"/>
          <a:ext cx="2666322" cy="159979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Emner som tilbys av noen andre enn IKOS: </a:t>
          </a:r>
          <a:r>
            <a:rPr lang="nb-NO" sz="1600" i="1" kern="1200" dirty="0"/>
            <a:t>Studiekonsulenten eller infosenteret som administrerer emnet. </a:t>
          </a:r>
          <a:endParaRPr lang="en-US" sz="1600" kern="1200" dirty="0"/>
        </a:p>
      </dsp:txBody>
      <dsp:txXfrm>
        <a:off x="3360" y="2283867"/>
        <a:ext cx="2666322" cy="1599793"/>
      </dsp:txXfrm>
    </dsp:sp>
    <dsp:sp modelId="{13F47D82-FE68-444A-B869-637A637ED5C0}">
      <dsp:nvSpPr>
        <dsp:cNvPr id="0" name=""/>
        <dsp:cNvSpPr/>
      </dsp:nvSpPr>
      <dsp:spPr>
        <a:xfrm>
          <a:off x="2936316" y="2283867"/>
          <a:ext cx="2666322" cy="159979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Karakterutskrift og vitnemål: </a:t>
          </a:r>
          <a:r>
            <a:rPr lang="en-GB" sz="1600" kern="1200" dirty="0">
              <a:hlinkClick xmlns:r="http://schemas.openxmlformats.org/officeDocument/2006/relationships" r:id="rId3"/>
            </a:rPr>
            <a:t>HF-</a:t>
          </a:r>
          <a:r>
            <a:rPr lang="en-GB" sz="1600" kern="1200" dirty="0" err="1">
              <a:hlinkClick xmlns:r="http://schemas.openxmlformats.org/officeDocument/2006/relationships" r:id="rId3"/>
            </a:rPr>
            <a:t>studieinfo</a:t>
          </a:r>
          <a:r>
            <a:rPr lang="en-GB" sz="1600" kern="1200" dirty="0">
              <a:hlinkClick xmlns:r="http://schemas.openxmlformats.org/officeDocument/2006/relationships" r:id="rId3"/>
            </a:rPr>
            <a:t> - Det </a:t>
          </a:r>
          <a:r>
            <a:rPr lang="en-GB" sz="1600" kern="1200" dirty="0" err="1">
              <a:hlinkClick xmlns:r="http://schemas.openxmlformats.org/officeDocument/2006/relationships" r:id="rId3"/>
            </a:rPr>
            <a:t>humanistiske</a:t>
          </a:r>
          <a:r>
            <a:rPr lang="en-GB" sz="1600" kern="1200" dirty="0">
              <a:hlinkClick xmlns:r="http://schemas.openxmlformats.org/officeDocument/2006/relationships" r:id="rId3"/>
            </a:rPr>
            <a:t> </a:t>
          </a:r>
          <a:r>
            <a:rPr lang="en-GB" sz="1600" kern="1200" dirty="0" err="1">
              <a:hlinkClick xmlns:r="http://schemas.openxmlformats.org/officeDocument/2006/relationships" r:id="rId3"/>
            </a:rPr>
            <a:t>fakultet</a:t>
          </a:r>
          <a:r>
            <a:rPr lang="en-GB" sz="1600" kern="1200" dirty="0">
              <a:hlinkClick xmlns:r="http://schemas.openxmlformats.org/officeDocument/2006/relationships" r:id="rId3"/>
            </a:rPr>
            <a:t> (uio.no)</a:t>
          </a:r>
          <a:endParaRPr lang="en-US" sz="1600" kern="1200" dirty="0"/>
        </a:p>
      </dsp:txBody>
      <dsp:txXfrm>
        <a:off x="2936316" y="2283867"/>
        <a:ext cx="2666322" cy="1599793"/>
      </dsp:txXfrm>
    </dsp:sp>
    <dsp:sp modelId="{51DE9ACD-1F4C-42D6-A16D-D1384A927CBE}">
      <dsp:nvSpPr>
        <dsp:cNvPr id="0" name=""/>
        <dsp:cNvSpPr/>
      </dsp:nvSpPr>
      <dsp:spPr>
        <a:xfrm>
          <a:off x="5869271" y="2283867"/>
          <a:ext cx="2666322" cy="159979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Oppmelding til emner, frister, semesteravgift: </a:t>
          </a:r>
          <a:r>
            <a:rPr lang="en-GB" sz="1600" kern="1200" dirty="0">
              <a:hlinkClick xmlns:r="http://schemas.openxmlformats.org/officeDocument/2006/relationships" r:id="rId3"/>
            </a:rPr>
            <a:t>HF-</a:t>
          </a:r>
          <a:r>
            <a:rPr lang="en-GB" sz="1600" kern="1200" dirty="0" err="1">
              <a:hlinkClick xmlns:r="http://schemas.openxmlformats.org/officeDocument/2006/relationships" r:id="rId3"/>
            </a:rPr>
            <a:t>studieinfo</a:t>
          </a:r>
          <a:r>
            <a:rPr lang="en-GB" sz="1600" kern="1200" dirty="0">
              <a:hlinkClick xmlns:r="http://schemas.openxmlformats.org/officeDocument/2006/relationships" r:id="rId3"/>
            </a:rPr>
            <a:t> - Det </a:t>
          </a:r>
          <a:r>
            <a:rPr lang="en-GB" sz="1600" kern="1200" dirty="0" err="1">
              <a:hlinkClick xmlns:r="http://schemas.openxmlformats.org/officeDocument/2006/relationships" r:id="rId3"/>
            </a:rPr>
            <a:t>humanistiske</a:t>
          </a:r>
          <a:r>
            <a:rPr lang="en-GB" sz="1600" kern="1200" dirty="0">
              <a:hlinkClick xmlns:r="http://schemas.openxmlformats.org/officeDocument/2006/relationships" r:id="rId3"/>
            </a:rPr>
            <a:t> </a:t>
          </a:r>
          <a:r>
            <a:rPr lang="en-GB" sz="1600" kern="1200" dirty="0" err="1">
              <a:hlinkClick xmlns:r="http://schemas.openxmlformats.org/officeDocument/2006/relationships" r:id="rId3"/>
            </a:rPr>
            <a:t>fakultet</a:t>
          </a:r>
          <a:r>
            <a:rPr lang="en-GB" sz="1600" kern="1200" dirty="0">
              <a:hlinkClick xmlns:r="http://schemas.openxmlformats.org/officeDocument/2006/relationships" r:id="rId3"/>
            </a:rPr>
            <a:t> (uio.no)</a:t>
          </a:r>
          <a:endParaRPr lang="en-US" sz="1600" kern="1200" dirty="0"/>
        </a:p>
      </dsp:txBody>
      <dsp:txXfrm>
        <a:off x="5869271" y="2283867"/>
        <a:ext cx="2666322" cy="1599793"/>
      </dsp:txXfrm>
    </dsp:sp>
    <dsp:sp modelId="{D88967C2-A8A8-41F9-8369-AB4E252DAB0F}">
      <dsp:nvSpPr>
        <dsp:cNvPr id="0" name=""/>
        <dsp:cNvSpPr/>
      </dsp:nvSpPr>
      <dsp:spPr>
        <a:xfrm>
          <a:off x="8802226" y="2283867"/>
          <a:ext cx="2666322" cy="159979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IT-tjenester: </a:t>
          </a:r>
          <a:r>
            <a:rPr lang="en-GB" sz="1600" kern="1200" dirty="0">
              <a:hlinkClick xmlns:r="http://schemas.openxmlformats.org/officeDocument/2006/relationships" r:id="rId4"/>
            </a:rPr>
            <a:t>IT-</a:t>
          </a:r>
          <a:r>
            <a:rPr lang="en-GB" sz="1600" kern="1200" dirty="0" err="1">
              <a:hlinkClick xmlns:r="http://schemas.openxmlformats.org/officeDocument/2006/relationships" r:id="rId4"/>
            </a:rPr>
            <a:t>hjelp</a:t>
          </a:r>
          <a:r>
            <a:rPr lang="en-GB" sz="1600" kern="1200" dirty="0">
              <a:hlinkClick xmlns:r="http://schemas.openxmlformats.org/officeDocument/2006/relationships" r:id="rId4"/>
            </a:rPr>
            <a:t> – </a:t>
          </a:r>
          <a:r>
            <a:rPr lang="en-GB" sz="1600" kern="1200" dirty="0" err="1">
              <a:hlinkClick xmlns:r="http://schemas.openxmlformats.org/officeDocument/2006/relationships" r:id="rId4"/>
            </a:rPr>
            <a:t>felles</a:t>
          </a:r>
          <a:r>
            <a:rPr lang="en-GB" sz="1600" kern="1200" dirty="0">
              <a:hlinkClick xmlns:r="http://schemas.openxmlformats.org/officeDocument/2006/relationships" r:id="rId4"/>
            </a:rPr>
            <a:t> </a:t>
          </a:r>
          <a:r>
            <a:rPr lang="en-GB" sz="1600" kern="1200" dirty="0" err="1">
              <a:hlinkClick xmlns:r="http://schemas.openxmlformats.org/officeDocument/2006/relationships" r:id="rId4"/>
            </a:rPr>
            <a:t>kontaktpunkt</a:t>
          </a:r>
          <a:r>
            <a:rPr lang="en-GB" sz="1600" kern="1200" dirty="0">
              <a:hlinkClick xmlns:r="http://schemas.openxmlformats.org/officeDocument/2006/relationships" r:id="rId4"/>
            </a:rPr>
            <a:t> for all </a:t>
          </a:r>
          <a:r>
            <a:rPr lang="en-GB" sz="1600" kern="1200" dirty="0" err="1">
              <a:hlinkClick xmlns:r="http://schemas.openxmlformats.org/officeDocument/2006/relationships" r:id="rId4"/>
            </a:rPr>
            <a:t>brukerstøtte</a:t>
          </a:r>
          <a:r>
            <a:rPr lang="en-GB" sz="1600" kern="1200" dirty="0">
              <a:hlinkClick xmlns:r="http://schemas.openxmlformats.org/officeDocument/2006/relationships" r:id="rId4"/>
            </a:rPr>
            <a:t> for IT </a:t>
          </a:r>
          <a:r>
            <a:rPr lang="en-GB" sz="1600" kern="1200" dirty="0" err="1">
              <a:hlinkClick xmlns:r="http://schemas.openxmlformats.org/officeDocument/2006/relationships" r:id="rId4"/>
            </a:rPr>
            <a:t>på</a:t>
          </a:r>
          <a:r>
            <a:rPr lang="en-GB" sz="1600" kern="1200" dirty="0">
              <a:hlinkClick xmlns:r="http://schemas.openxmlformats.org/officeDocument/2006/relationships" r:id="rId4"/>
            </a:rPr>
            <a:t> </a:t>
          </a:r>
          <a:r>
            <a:rPr lang="en-GB" sz="1600" kern="1200" dirty="0" err="1">
              <a:hlinkClick xmlns:r="http://schemas.openxmlformats.org/officeDocument/2006/relationships" r:id="rId4"/>
            </a:rPr>
            <a:t>UiO</a:t>
          </a:r>
          <a:r>
            <a:rPr lang="en-GB" sz="1600" kern="1200" dirty="0">
              <a:hlinkClick xmlns:r="http://schemas.openxmlformats.org/officeDocument/2006/relationships" r:id="rId4"/>
            </a:rPr>
            <a:t> - </a:t>
          </a:r>
          <a:r>
            <a:rPr lang="en-GB" sz="1600" kern="1200" dirty="0" err="1">
              <a:hlinkClick xmlns:r="http://schemas.openxmlformats.org/officeDocument/2006/relationships" r:id="rId4"/>
            </a:rPr>
            <a:t>Universitetet</a:t>
          </a:r>
          <a:r>
            <a:rPr lang="en-GB" sz="1600" kern="1200" dirty="0">
              <a:hlinkClick xmlns:r="http://schemas.openxmlformats.org/officeDocument/2006/relationships" r:id="rId4"/>
            </a:rPr>
            <a:t> </a:t>
          </a:r>
          <a:r>
            <a:rPr lang="en-GB" sz="1600" kern="1200" dirty="0" err="1">
              <a:hlinkClick xmlns:r="http://schemas.openxmlformats.org/officeDocument/2006/relationships" r:id="rId4"/>
            </a:rPr>
            <a:t>i</a:t>
          </a:r>
          <a:r>
            <a:rPr lang="en-GB" sz="1600" kern="1200" dirty="0">
              <a:hlinkClick xmlns:r="http://schemas.openxmlformats.org/officeDocument/2006/relationships" r:id="rId4"/>
            </a:rPr>
            <a:t> Oslo</a:t>
          </a:r>
          <a:endParaRPr lang="en-US" sz="1600" kern="1200" dirty="0"/>
        </a:p>
      </dsp:txBody>
      <dsp:txXfrm>
        <a:off x="8802226" y="2283867"/>
        <a:ext cx="2666322" cy="1599793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5BC28E-57E1-4B7E-A154-4C31C5A326A3}">
      <dsp:nvSpPr>
        <dsp:cNvPr id="0" name=""/>
        <dsp:cNvSpPr/>
      </dsp:nvSpPr>
      <dsp:spPr>
        <a:xfrm>
          <a:off x="0" y="512616"/>
          <a:ext cx="6117873" cy="3969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4815" tIns="583184" rIns="474815" bIns="199136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800" b="0" i="0" kern="1200" dirty="0"/>
            <a:t>Det du setter pris på og ønsker at UiO skal gjøre mer av.</a:t>
          </a:r>
          <a:endParaRPr lang="en-US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800" b="0" i="0" kern="1200" dirty="0"/>
            <a:t>Dårlige sider ved det fysiske eller sosiale læringsmiljøet ditt.</a:t>
          </a:r>
          <a:endParaRPr lang="en-US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800" b="0" i="0" kern="1200"/>
            <a:t>Skadelige, farlige, uetiske eller straffbare hendelser.</a:t>
          </a:r>
          <a:endParaRPr lang="en-US" sz="2800" kern="120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800" b="0" i="0" kern="1200" dirty="0">
              <a:hlinkClick xmlns:r="http://schemas.openxmlformats.org/officeDocument/2006/relationships" r:id="rId1"/>
            </a:rPr>
            <a:t>Mobbing eller seksuell trakassering.</a:t>
          </a:r>
          <a:r>
            <a:rPr lang="nb-NO" sz="2800" b="0" i="0" kern="1200" dirty="0"/>
            <a:t> </a:t>
          </a:r>
          <a:endParaRPr lang="en-US" sz="2800" kern="1200" dirty="0"/>
        </a:p>
      </dsp:txBody>
      <dsp:txXfrm>
        <a:off x="0" y="512616"/>
        <a:ext cx="6117873" cy="3969000"/>
      </dsp:txXfrm>
    </dsp:sp>
    <dsp:sp modelId="{846D5640-8CB7-45A1-93BF-524790A68772}">
      <dsp:nvSpPr>
        <dsp:cNvPr id="0" name=""/>
        <dsp:cNvSpPr/>
      </dsp:nvSpPr>
      <dsp:spPr>
        <a:xfrm>
          <a:off x="305893" y="99336"/>
          <a:ext cx="4282511" cy="82656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869" tIns="0" rIns="161869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800" kern="1200" dirty="0"/>
            <a:t>Varsle om </a:t>
          </a:r>
          <a:r>
            <a:rPr lang="nb-NO" sz="2800" kern="1200" dirty="0" err="1"/>
            <a:t>læringsmilj</a:t>
          </a:r>
          <a:r>
            <a:rPr lang="en-GB" sz="2800" kern="1200" dirty="0"/>
            <a:t>ø:</a:t>
          </a:r>
          <a:endParaRPr lang="en-US" sz="2800" kern="1200" dirty="0"/>
        </a:p>
      </dsp:txBody>
      <dsp:txXfrm>
        <a:off x="346242" y="139685"/>
        <a:ext cx="4201813" cy="74586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3E389E-9F27-428E-9A2C-7697AB0F4410}">
      <dsp:nvSpPr>
        <dsp:cNvPr id="0" name=""/>
        <dsp:cNvSpPr/>
      </dsp:nvSpPr>
      <dsp:spPr>
        <a:xfrm>
          <a:off x="0" y="13081"/>
          <a:ext cx="11471910" cy="49139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2100" kern="1200"/>
            <a:t>Torsdag 17. august  kl. 23.59: </a:t>
          </a:r>
          <a:endParaRPr lang="en-US" sz="2100" kern="1200"/>
        </a:p>
      </dsp:txBody>
      <dsp:txXfrm>
        <a:off x="23988" y="37069"/>
        <a:ext cx="11423934" cy="443423"/>
      </dsp:txXfrm>
    </dsp:sp>
    <dsp:sp modelId="{FA93B22A-5B26-4F4C-B090-DE95A9CEBF4A}">
      <dsp:nvSpPr>
        <dsp:cNvPr id="0" name=""/>
        <dsp:cNvSpPr/>
      </dsp:nvSpPr>
      <dsp:spPr>
        <a:xfrm>
          <a:off x="0" y="504481"/>
          <a:ext cx="11471910" cy="347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4233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n-NO" sz="1600" kern="1200"/>
            <a:t>Frist for emnepåmelding i Studentweb. Svar blir publisert senest mandag 22. august i Studentweb. </a:t>
          </a:r>
          <a:endParaRPr lang="en-US" sz="1600" kern="1200"/>
        </a:p>
      </dsp:txBody>
      <dsp:txXfrm>
        <a:off x="0" y="504481"/>
        <a:ext cx="11471910" cy="347760"/>
      </dsp:txXfrm>
    </dsp:sp>
    <dsp:sp modelId="{F72876AE-6B4F-4ADF-8B17-F7B8DB3F08F4}">
      <dsp:nvSpPr>
        <dsp:cNvPr id="0" name=""/>
        <dsp:cNvSpPr/>
      </dsp:nvSpPr>
      <dsp:spPr>
        <a:xfrm>
          <a:off x="0" y="852241"/>
          <a:ext cx="11471910" cy="49139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2100" kern="1200" dirty="0" err="1"/>
            <a:t>Tirsdag</a:t>
          </a:r>
          <a:r>
            <a:rPr lang="nn-NO" sz="2100" kern="1200" dirty="0"/>
            <a:t> 22. august </a:t>
          </a:r>
          <a:r>
            <a:rPr lang="nn-NO" sz="2100" kern="1200" dirty="0" err="1"/>
            <a:t>kl</a:t>
          </a:r>
          <a:r>
            <a:rPr lang="nn-NO" sz="2100" kern="1200" dirty="0"/>
            <a:t> 09:00:</a:t>
          </a:r>
          <a:endParaRPr lang="en-US" sz="2100" kern="1200" dirty="0"/>
        </a:p>
      </dsp:txBody>
      <dsp:txXfrm>
        <a:off x="23988" y="876229"/>
        <a:ext cx="11423934" cy="443423"/>
      </dsp:txXfrm>
    </dsp:sp>
    <dsp:sp modelId="{8BCE02CB-254E-4C57-A407-DDF121B34B22}">
      <dsp:nvSpPr>
        <dsp:cNvPr id="0" name=""/>
        <dsp:cNvSpPr/>
      </dsp:nvSpPr>
      <dsp:spPr>
        <a:xfrm>
          <a:off x="0" y="1343641"/>
          <a:ext cx="11471910" cy="347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4233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n-NO" sz="1600" kern="1200" dirty="0"/>
            <a:t>Påmelding til </a:t>
          </a:r>
          <a:r>
            <a:rPr lang="nn-NO" sz="1600" kern="1200" dirty="0" err="1"/>
            <a:t>emner</a:t>
          </a:r>
          <a:r>
            <a:rPr lang="nn-NO" sz="1600" kern="1200" dirty="0"/>
            <a:t> med ledig kapasitet. «Førstemann til mølla» og svar med en gang.</a:t>
          </a:r>
          <a:endParaRPr lang="en-US" sz="1600" kern="1200" dirty="0"/>
        </a:p>
      </dsp:txBody>
      <dsp:txXfrm>
        <a:off x="0" y="1343641"/>
        <a:ext cx="11471910" cy="347760"/>
      </dsp:txXfrm>
    </dsp:sp>
    <dsp:sp modelId="{08F95BED-C991-402F-AAFB-A1331015867B}">
      <dsp:nvSpPr>
        <dsp:cNvPr id="0" name=""/>
        <dsp:cNvSpPr/>
      </dsp:nvSpPr>
      <dsp:spPr>
        <a:xfrm>
          <a:off x="0" y="1691401"/>
          <a:ext cx="11471910" cy="49139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2100" kern="1200" dirty="0" err="1"/>
            <a:t>Fra</a:t>
          </a:r>
          <a:r>
            <a:rPr lang="nn-NO" sz="2100" kern="1200" dirty="0"/>
            <a:t> og med </a:t>
          </a:r>
          <a:r>
            <a:rPr lang="nn-NO" sz="2100" kern="1200" dirty="0" err="1"/>
            <a:t>mandag</a:t>
          </a:r>
          <a:r>
            <a:rPr lang="nn-NO" sz="2100" kern="1200" dirty="0"/>
            <a:t> 21. august (uke 34):</a:t>
          </a:r>
          <a:endParaRPr lang="en-US" sz="2100" kern="1200" dirty="0"/>
        </a:p>
      </dsp:txBody>
      <dsp:txXfrm>
        <a:off x="23988" y="1715389"/>
        <a:ext cx="11423934" cy="443423"/>
      </dsp:txXfrm>
    </dsp:sp>
    <dsp:sp modelId="{7C2011B3-1584-4A38-BD97-A22F40F58335}">
      <dsp:nvSpPr>
        <dsp:cNvPr id="0" name=""/>
        <dsp:cNvSpPr/>
      </dsp:nvSpPr>
      <dsp:spPr>
        <a:xfrm>
          <a:off x="0" y="2182801"/>
          <a:ext cx="11471910" cy="347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4233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n-NO" sz="1600" kern="1200" dirty="0"/>
            <a:t>Undervisningsstart.</a:t>
          </a:r>
          <a:endParaRPr lang="en-US" sz="1600" kern="1200" dirty="0"/>
        </a:p>
      </dsp:txBody>
      <dsp:txXfrm>
        <a:off x="0" y="2182801"/>
        <a:ext cx="11471910" cy="347760"/>
      </dsp:txXfrm>
    </dsp:sp>
    <dsp:sp modelId="{5C1C16AB-459E-4613-8714-797F0E78F838}">
      <dsp:nvSpPr>
        <dsp:cNvPr id="0" name=""/>
        <dsp:cNvSpPr/>
      </dsp:nvSpPr>
      <dsp:spPr>
        <a:xfrm>
          <a:off x="0" y="2530561"/>
          <a:ext cx="11471910" cy="49139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 err="1"/>
            <a:t>Fredag</a:t>
          </a:r>
          <a:r>
            <a:rPr lang="en-US" sz="2100" kern="1200" dirty="0"/>
            <a:t> 1. September er first for </a:t>
          </a:r>
          <a:r>
            <a:rPr lang="en-US" sz="2100" kern="1200" dirty="0" err="1"/>
            <a:t>følgende</a:t>
          </a:r>
          <a:r>
            <a:rPr lang="en-US" sz="2100" kern="1200" dirty="0"/>
            <a:t>:</a:t>
          </a:r>
          <a:r>
            <a:rPr lang="nn-NO" sz="2100" kern="1200" dirty="0"/>
            <a:t> </a:t>
          </a:r>
          <a:endParaRPr lang="en-US" sz="2100" kern="1200" dirty="0"/>
        </a:p>
      </dsp:txBody>
      <dsp:txXfrm>
        <a:off x="23988" y="2554549"/>
        <a:ext cx="11423934" cy="443423"/>
      </dsp:txXfrm>
    </dsp:sp>
    <dsp:sp modelId="{EC2F44DB-5347-4A7C-B637-5BFE0483AA84}">
      <dsp:nvSpPr>
        <dsp:cNvPr id="0" name=""/>
        <dsp:cNvSpPr/>
      </dsp:nvSpPr>
      <dsp:spPr>
        <a:xfrm>
          <a:off x="0" y="3021960"/>
          <a:ext cx="11471910" cy="1782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4233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600" kern="1200" dirty="0"/>
            <a:t>å betale semesteravgift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n-NO" sz="1600" kern="1200" dirty="0"/>
            <a:t>registrering i Studentweb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n-NO" sz="1600" kern="1200" dirty="0"/>
            <a:t>lagre </a:t>
          </a:r>
          <a:r>
            <a:rPr lang="nn-NO" sz="1600" kern="1200" dirty="0" err="1"/>
            <a:t>utdanningplanen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n-NO" sz="1600" kern="1200" dirty="0"/>
            <a:t>undervisnings- og eksamensmelding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n-NO" sz="1600" kern="1200" dirty="0"/>
            <a:t>å søke om tilrettelagt eksamen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n-NO" sz="1600" kern="1200" dirty="0"/>
            <a:t>å søke om </a:t>
          </a:r>
          <a:r>
            <a:rPr lang="nn-NO" sz="1600" kern="1200" dirty="0" err="1"/>
            <a:t>utsatt</a:t>
          </a:r>
          <a:r>
            <a:rPr lang="nn-NO" sz="1600" kern="1200" dirty="0"/>
            <a:t> studiestart, permisjon og redusert studieprogresjon: </a:t>
          </a:r>
          <a:r>
            <a:rPr lang="nn-NO" sz="1600" kern="1200" dirty="0">
              <a:hlinkClick xmlns:r="http://schemas.openxmlformats.org/officeDocument/2006/relationships" r:id="rId1"/>
            </a:rPr>
            <a:t>Permisjon frå studieprogram - Universitetet i Oslo (uio.no)</a:t>
          </a:r>
          <a:r>
            <a:rPr lang="nn-NO" sz="1600" kern="1200" dirty="0"/>
            <a:t> </a:t>
          </a:r>
          <a:endParaRPr lang="en-US" sz="1600" kern="1200" dirty="0"/>
        </a:p>
      </dsp:txBody>
      <dsp:txXfrm>
        <a:off x="0" y="3021960"/>
        <a:ext cx="11471910" cy="1782269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0AE60D-BFBC-4838-A453-92E8A243E86B}">
      <dsp:nvSpPr>
        <dsp:cNvPr id="0" name=""/>
        <dsp:cNvSpPr/>
      </dsp:nvSpPr>
      <dsp:spPr>
        <a:xfrm>
          <a:off x="0" y="16614"/>
          <a:ext cx="5611759" cy="73359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 err="1"/>
            <a:t>På</a:t>
          </a:r>
          <a:r>
            <a:rPr lang="en-US" sz="1900" kern="1200" dirty="0"/>
            <a:t> </a:t>
          </a:r>
          <a:r>
            <a:rPr lang="en-US" sz="1900" kern="1200" dirty="0" err="1"/>
            <a:t>torsdag</a:t>
          </a:r>
          <a:r>
            <a:rPr lang="en-US" sz="1900" kern="1200" dirty="0"/>
            <a:t> </a:t>
          </a:r>
          <a:r>
            <a:rPr lang="en-US" sz="1900" kern="1200" dirty="0" err="1"/>
            <a:t>inviterer</a:t>
          </a:r>
          <a:r>
            <a:rPr lang="en-US" sz="1900" kern="1200" dirty="0"/>
            <a:t> vi </a:t>
          </a:r>
          <a:r>
            <a:rPr lang="en-US" sz="1900" kern="1200" dirty="0" err="1"/>
            <a:t>til</a:t>
          </a:r>
          <a:r>
            <a:rPr lang="en-US" sz="1900" kern="1200" dirty="0"/>
            <a:t> workshop – “</a:t>
          </a:r>
          <a:r>
            <a:rPr lang="en-US" sz="1900" kern="1200" dirty="0" err="1"/>
            <a:t>hvordan</a:t>
          </a:r>
          <a:r>
            <a:rPr lang="en-US" sz="1900" kern="1200" dirty="0"/>
            <a:t> </a:t>
          </a:r>
          <a:r>
            <a:rPr lang="en-US" sz="1900" kern="1200" dirty="0" err="1"/>
            <a:t>bli</a:t>
          </a:r>
          <a:r>
            <a:rPr lang="en-US" sz="1900" kern="1200" dirty="0"/>
            <a:t> </a:t>
          </a:r>
          <a:r>
            <a:rPr lang="en-US" sz="1900" kern="1200" dirty="0" err="1"/>
            <a:t>en</a:t>
          </a:r>
          <a:r>
            <a:rPr lang="en-US" sz="1900" kern="1200" dirty="0"/>
            <a:t> god student”!</a:t>
          </a:r>
        </a:p>
      </dsp:txBody>
      <dsp:txXfrm>
        <a:off x="35811" y="52425"/>
        <a:ext cx="5540137" cy="661968"/>
      </dsp:txXfrm>
    </dsp:sp>
    <dsp:sp modelId="{D3173D4F-60DD-472B-A4E6-D8D94BAB0B6C}">
      <dsp:nvSpPr>
        <dsp:cNvPr id="0" name=""/>
        <dsp:cNvSpPr/>
      </dsp:nvSpPr>
      <dsp:spPr>
        <a:xfrm>
          <a:off x="0" y="804924"/>
          <a:ext cx="5611759" cy="73359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Oppsummering og oversikt</a:t>
          </a:r>
        </a:p>
      </dsp:txBody>
      <dsp:txXfrm>
        <a:off x="35811" y="840735"/>
        <a:ext cx="5540137" cy="661968"/>
      </dsp:txXfrm>
    </dsp:sp>
    <dsp:sp modelId="{5773BE97-366C-4FBC-9B41-D610FCB1847F}">
      <dsp:nvSpPr>
        <dsp:cNvPr id="0" name=""/>
        <dsp:cNvSpPr/>
      </dsp:nvSpPr>
      <dsp:spPr>
        <a:xfrm>
          <a:off x="0" y="1593234"/>
          <a:ext cx="5611759" cy="73359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Bli kjent!</a:t>
          </a:r>
        </a:p>
      </dsp:txBody>
      <dsp:txXfrm>
        <a:off x="35811" y="1629045"/>
        <a:ext cx="5540137" cy="661968"/>
      </dsp:txXfrm>
    </dsp:sp>
    <dsp:sp modelId="{42FC749E-9D60-46E2-BD91-C6517732F6E8}">
      <dsp:nvSpPr>
        <dsp:cNvPr id="0" name=""/>
        <dsp:cNvSpPr/>
      </dsp:nvSpPr>
      <dsp:spPr>
        <a:xfrm>
          <a:off x="0" y="2381544"/>
          <a:ext cx="5611759" cy="73359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Gratis pizza </a:t>
          </a:r>
          <a:r>
            <a:rPr lang="en-US" sz="1900" kern="1200" dirty="0" err="1"/>
            <a:t>og</a:t>
          </a:r>
          <a:r>
            <a:rPr lang="en-US" sz="1900" kern="1200" dirty="0"/>
            <a:t> brus</a:t>
          </a:r>
        </a:p>
      </dsp:txBody>
      <dsp:txXfrm>
        <a:off x="35811" y="2417355"/>
        <a:ext cx="5540137" cy="661968"/>
      </dsp:txXfrm>
    </dsp:sp>
    <dsp:sp modelId="{9B567F96-73D9-44AC-A3CF-37CC339BF201}">
      <dsp:nvSpPr>
        <dsp:cNvPr id="0" name=""/>
        <dsp:cNvSpPr/>
      </dsp:nvSpPr>
      <dsp:spPr>
        <a:xfrm>
          <a:off x="0" y="3169854"/>
          <a:ext cx="5611759" cy="73359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Kl 09:15-13:00 </a:t>
          </a:r>
          <a:r>
            <a:rPr lang="en-US" sz="1900" kern="1200" dirty="0" err="1"/>
            <a:t>i</a:t>
          </a:r>
          <a:r>
            <a:rPr lang="en-US" sz="1900" kern="1200" dirty="0"/>
            <a:t> Sophus </a:t>
          </a:r>
          <a:r>
            <a:rPr lang="en-US" sz="1900" kern="1200" dirty="0" err="1"/>
            <a:t>Bugges</a:t>
          </a:r>
          <a:r>
            <a:rPr lang="en-US" sz="1900" kern="1200" dirty="0"/>
            <a:t> </a:t>
          </a:r>
          <a:r>
            <a:rPr lang="en-US" sz="1900" kern="1200" dirty="0" err="1"/>
            <a:t>hus</a:t>
          </a:r>
          <a:r>
            <a:rPr lang="en-US" sz="1900" kern="1200" dirty="0"/>
            <a:t>, auditorium 1</a:t>
          </a:r>
        </a:p>
      </dsp:txBody>
      <dsp:txXfrm>
        <a:off x="35811" y="3205665"/>
        <a:ext cx="5540137" cy="66196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4278A7-0946-4EF3-BB24-AB3BE3FA93BF}">
      <dsp:nvSpPr>
        <dsp:cNvPr id="0" name=""/>
        <dsp:cNvSpPr/>
      </dsp:nvSpPr>
      <dsp:spPr>
        <a:xfrm>
          <a:off x="0" y="207991"/>
          <a:ext cx="11471910" cy="88920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3800" kern="1200" dirty="0">
              <a:hlinkClick xmlns:r="http://schemas.openxmlformats.org/officeDocument/2006/relationships" r:id="rId1"/>
            </a:rPr>
            <a:t>Fordypningsfag (80-gruppe)</a:t>
          </a:r>
          <a:endParaRPr lang="en-US" sz="3800" kern="1200" dirty="0"/>
        </a:p>
      </dsp:txBody>
      <dsp:txXfrm>
        <a:off x="43407" y="251398"/>
        <a:ext cx="11385096" cy="802386"/>
      </dsp:txXfrm>
    </dsp:sp>
    <dsp:sp modelId="{11676EF9-E812-484D-BB72-0900F7642984}">
      <dsp:nvSpPr>
        <dsp:cNvPr id="0" name=""/>
        <dsp:cNvSpPr/>
      </dsp:nvSpPr>
      <dsp:spPr>
        <a:xfrm>
          <a:off x="0" y="1206631"/>
          <a:ext cx="11471910" cy="889200"/>
        </a:xfrm>
        <a:prstGeom prst="roundRect">
          <a:avLst/>
        </a:prstGeom>
        <a:solidFill>
          <a:schemeClr val="accent4">
            <a:hueOff val="-3803633"/>
            <a:satOff val="-291"/>
            <a:lumOff val="-1333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3800" kern="1200" dirty="0">
              <a:hlinkClick xmlns:r="http://schemas.openxmlformats.org/officeDocument/2006/relationships" r:id="rId2"/>
            </a:rPr>
            <a:t>Støttefag i kultur- eller samfunnsfag (40-gruppe)</a:t>
          </a:r>
          <a:endParaRPr lang="en-US" sz="3800" kern="1200" dirty="0"/>
        </a:p>
      </dsp:txBody>
      <dsp:txXfrm>
        <a:off x="43407" y="1250038"/>
        <a:ext cx="11385096" cy="802386"/>
      </dsp:txXfrm>
    </dsp:sp>
    <dsp:sp modelId="{FAF4DFB3-6C91-4E49-986E-6D272B1726A2}">
      <dsp:nvSpPr>
        <dsp:cNvPr id="0" name=""/>
        <dsp:cNvSpPr/>
      </dsp:nvSpPr>
      <dsp:spPr>
        <a:xfrm>
          <a:off x="0" y="2205271"/>
          <a:ext cx="11471910" cy="889200"/>
        </a:xfrm>
        <a:prstGeom prst="roundRect">
          <a:avLst/>
        </a:prstGeom>
        <a:solidFill>
          <a:schemeClr val="accent4">
            <a:hueOff val="-7607267"/>
            <a:satOff val="-583"/>
            <a:lumOff val="-2666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3800" kern="1200" dirty="0">
              <a:hlinkClick xmlns:r="http://schemas.openxmlformats.org/officeDocument/2006/relationships" r:id="rId2"/>
            </a:rPr>
            <a:t>Utenlandsopphold eller frie emner (40 studiepoeng)</a:t>
          </a:r>
          <a:endParaRPr lang="en-US" sz="3800" kern="1200" dirty="0"/>
        </a:p>
      </dsp:txBody>
      <dsp:txXfrm>
        <a:off x="43407" y="2248678"/>
        <a:ext cx="11385096" cy="802386"/>
      </dsp:txXfrm>
    </dsp:sp>
    <dsp:sp modelId="{EA208C51-D629-405E-B811-7E6A988F21A4}">
      <dsp:nvSpPr>
        <dsp:cNvPr id="0" name=""/>
        <dsp:cNvSpPr/>
      </dsp:nvSpPr>
      <dsp:spPr>
        <a:xfrm>
          <a:off x="0" y="3203911"/>
          <a:ext cx="11471910" cy="889200"/>
        </a:xfrm>
        <a:prstGeom prst="roundRect">
          <a:avLst/>
        </a:prstGeom>
        <a:solidFill>
          <a:schemeClr val="accent4">
            <a:hueOff val="-11410900"/>
            <a:satOff val="-874"/>
            <a:lumOff val="-4000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3800" kern="1200" dirty="0">
              <a:hlinkClick xmlns:r="http://schemas.openxmlformats.org/officeDocument/2006/relationships" r:id="rId2"/>
            </a:rPr>
            <a:t>Ex.phil og </a:t>
          </a:r>
          <a:r>
            <a:rPr lang="nb-NO" sz="3800" kern="1200" dirty="0" err="1">
              <a:hlinkClick xmlns:r="http://schemas.openxmlformats.org/officeDocument/2006/relationships" r:id="rId2"/>
            </a:rPr>
            <a:t>ex.fac</a:t>
          </a:r>
          <a:r>
            <a:rPr lang="nb-NO" sz="3800" kern="1200" dirty="0">
              <a:hlinkClick xmlns:r="http://schemas.openxmlformats.org/officeDocument/2006/relationships" r:id="rId2"/>
            </a:rPr>
            <a:t> (20 studiepoeng)</a:t>
          </a:r>
          <a:endParaRPr lang="en-US" sz="3800" kern="1200" dirty="0"/>
        </a:p>
      </dsp:txBody>
      <dsp:txXfrm>
        <a:off x="43407" y="3247318"/>
        <a:ext cx="11385096" cy="80238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05D3F2-3E69-448A-920F-B16216742D28}">
      <dsp:nvSpPr>
        <dsp:cNvPr id="0" name=""/>
        <dsp:cNvSpPr/>
      </dsp:nvSpPr>
      <dsp:spPr>
        <a:xfrm>
          <a:off x="1100955" y="1499136"/>
          <a:ext cx="810000" cy="810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BD96FC0-20E4-4D85-A66D-D244CF2801F7}">
      <dsp:nvSpPr>
        <dsp:cNvPr id="0" name=""/>
        <dsp:cNvSpPr/>
      </dsp:nvSpPr>
      <dsp:spPr>
        <a:xfrm>
          <a:off x="605955" y="2598175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100" kern="1200"/>
            <a:t>Læringsmål og undervisning</a:t>
          </a:r>
          <a:endParaRPr lang="en-US" sz="2100" kern="1200"/>
        </a:p>
      </dsp:txBody>
      <dsp:txXfrm>
        <a:off x="605955" y="2598175"/>
        <a:ext cx="1800000" cy="720000"/>
      </dsp:txXfrm>
    </dsp:sp>
    <dsp:sp modelId="{E9D505FF-F1A0-4DB1-A355-D6EAFEDBB100}">
      <dsp:nvSpPr>
        <dsp:cNvPr id="0" name=""/>
        <dsp:cNvSpPr/>
      </dsp:nvSpPr>
      <dsp:spPr>
        <a:xfrm>
          <a:off x="3215955" y="1499136"/>
          <a:ext cx="810000" cy="810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0DC879-9535-4AD3-B4FA-54F8067CE89A}">
      <dsp:nvSpPr>
        <dsp:cNvPr id="0" name=""/>
        <dsp:cNvSpPr/>
      </dsp:nvSpPr>
      <dsp:spPr>
        <a:xfrm>
          <a:off x="2720955" y="2598175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100" kern="1200"/>
            <a:t>Obligatorisk aktivitet</a:t>
          </a:r>
          <a:endParaRPr lang="en-US" sz="2100" kern="1200"/>
        </a:p>
      </dsp:txBody>
      <dsp:txXfrm>
        <a:off x="2720955" y="2598175"/>
        <a:ext cx="1800000" cy="720000"/>
      </dsp:txXfrm>
    </dsp:sp>
    <dsp:sp modelId="{8998B8AF-E280-42FE-B63F-28582F01592B}">
      <dsp:nvSpPr>
        <dsp:cNvPr id="0" name=""/>
        <dsp:cNvSpPr/>
      </dsp:nvSpPr>
      <dsp:spPr>
        <a:xfrm>
          <a:off x="5330955" y="1499136"/>
          <a:ext cx="810000" cy="81000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C15BF1-73E7-43DB-B222-2254E83349FD}">
      <dsp:nvSpPr>
        <dsp:cNvPr id="0" name=""/>
        <dsp:cNvSpPr/>
      </dsp:nvSpPr>
      <dsp:spPr>
        <a:xfrm>
          <a:off x="4835955" y="2598175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100" kern="1200"/>
            <a:t>Timeplan</a:t>
          </a:r>
          <a:endParaRPr lang="en-US" sz="2100" kern="1200"/>
        </a:p>
      </dsp:txBody>
      <dsp:txXfrm>
        <a:off x="4835955" y="2598175"/>
        <a:ext cx="1800000" cy="720000"/>
      </dsp:txXfrm>
    </dsp:sp>
    <dsp:sp modelId="{2F25126D-C3F8-43C1-805F-8EDE505893E7}">
      <dsp:nvSpPr>
        <dsp:cNvPr id="0" name=""/>
        <dsp:cNvSpPr/>
      </dsp:nvSpPr>
      <dsp:spPr>
        <a:xfrm>
          <a:off x="7445955" y="1499136"/>
          <a:ext cx="810000" cy="81000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CEC486D-3275-4B2F-86FE-541907AF994E}">
      <dsp:nvSpPr>
        <dsp:cNvPr id="0" name=""/>
        <dsp:cNvSpPr/>
      </dsp:nvSpPr>
      <dsp:spPr>
        <a:xfrm>
          <a:off x="6950955" y="2598175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100" kern="1200" dirty="0"/>
            <a:t>Pensum</a:t>
          </a:r>
          <a:endParaRPr lang="en-US" sz="2100" kern="1200" dirty="0"/>
        </a:p>
      </dsp:txBody>
      <dsp:txXfrm>
        <a:off x="6950955" y="2598175"/>
        <a:ext cx="1800000" cy="720000"/>
      </dsp:txXfrm>
    </dsp:sp>
    <dsp:sp modelId="{FBE63B73-B17C-4D7A-85D8-D004F4D2526B}">
      <dsp:nvSpPr>
        <dsp:cNvPr id="0" name=""/>
        <dsp:cNvSpPr/>
      </dsp:nvSpPr>
      <dsp:spPr>
        <a:xfrm>
          <a:off x="9560955" y="1499136"/>
          <a:ext cx="810000" cy="810000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F3CE93-89C1-4409-AC78-C7BC151D8345}">
      <dsp:nvSpPr>
        <dsp:cNvPr id="0" name=""/>
        <dsp:cNvSpPr/>
      </dsp:nvSpPr>
      <dsp:spPr>
        <a:xfrm>
          <a:off x="9065955" y="2598175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100" kern="1200"/>
            <a:t>Eksamen</a:t>
          </a:r>
          <a:endParaRPr lang="en-US" sz="2100" kern="1200"/>
        </a:p>
      </dsp:txBody>
      <dsp:txXfrm>
        <a:off x="9065955" y="2598175"/>
        <a:ext cx="1800000" cy="7200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473498-CDB2-407A-A9B6-ADED23BF3900}">
      <dsp:nvSpPr>
        <dsp:cNvPr id="0" name=""/>
        <dsp:cNvSpPr/>
      </dsp:nvSpPr>
      <dsp:spPr>
        <a:xfrm>
          <a:off x="0" y="0"/>
          <a:ext cx="850680" cy="850680"/>
        </a:xfrm>
        <a:prstGeom prst="pie">
          <a:avLst>
            <a:gd name="adj1" fmla="val 5400000"/>
            <a:gd name="adj2" fmla="val 162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644ADE-89B7-46BD-AB85-EC57624C54E6}">
      <dsp:nvSpPr>
        <dsp:cNvPr id="0" name=""/>
        <dsp:cNvSpPr/>
      </dsp:nvSpPr>
      <dsp:spPr>
        <a:xfrm>
          <a:off x="425339" y="0"/>
          <a:ext cx="10480983" cy="850680"/>
        </a:xfrm>
        <a:prstGeom prst="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Les </a:t>
          </a:r>
          <a:r>
            <a:rPr lang="en-US" sz="2500" kern="1200" dirty="0" err="1"/>
            <a:t>emnebeskrivelser</a:t>
          </a:r>
          <a:r>
            <a:rPr lang="en-US" sz="2500" kern="1200" dirty="0"/>
            <a:t> </a:t>
          </a:r>
          <a:r>
            <a:rPr lang="en-US" sz="2500" kern="1200" dirty="0" err="1"/>
            <a:t>og</a:t>
          </a:r>
          <a:r>
            <a:rPr lang="en-US" sz="2500" kern="1200" dirty="0"/>
            <a:t> </a:t>
          </a:r>
          <a:r>
            <a:rPr lang="en-US" sz="2500" kern="1200" dirty="0" err="1"/>
            <a:t>semestersider</a:t>
          </a:r>
          <a:r>
            <a:rPr lang="en-US" sz="2500" kern="1200" dirty="0"/>
            <a:t> </a:t>
          </a:r>
          <a:r>
            <a:rPr lang="en-US" sz="2500" kern="1200" dirty="0" err="1"/>
            <a:t>nøye</a:t>
          </a:r>
          <a:r>
            <a:rPr lang="en-US" sz="2500" kern="1200" dirty="0"/>
            <a:t> </a:t>
          </a:r>
          <a:r>
            <a:rPr lang="en-US" sz="2500" kern="1200" dirty="0" err="1"/>
            <a:t>hvert</a:t>
          </a:r>
          <a:r>
            <a:rPr lang="en-US" sz="2500" kern="1200" dirty="0"/>
            <a:t> semester– </a:t>
          </a:r>
          <a:r>
            <a:rPr lang="en-US" sz="2500" kern="1200" dirty="0" err="1"/>
            <a:t>før</a:t>
          </a:r>
          <a:r>
            <a:rPr lang="en-US" sz="2500" kern="1200" dirty="0"/>
            <a:t> </a:t>
          </a:r>
          <a:r>
            <a:rPr lang="en-US" sz="2500" kern="1200" dirty="0" err="1"/>
            <a:t>undervisningen</a:t>
          </a:r>
          <a:r>
            <a:rPr lang="en-US" sz="2500" kern="1200" dirty="0"/>
            <a:t> </a:t>
          </a:r>
          <a:r>
            <a:rPr lang="en-US" sz="2500" kern="1200" dirty="0" err="1"/>
            <a:t>begynner</a:t>
          </a:r>
          <a:r>
            <a:rPr lang="en-US" sz="2500" kern="1200" dirty="0"/>
            <a:t>.</a:t>
          </a:r>
          <a:endParaRPr lang="en-GB" sz="2500" kern="1200" dirty="0"/>
        </a:p>
      </dsp:txBody>
      <dsp:txXfrm>
        <a:off x="425339" y="0"/>
        <a:ext cx="10480983" cy="85068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E4E0AA-B748-4128-93ED-353E364B727F}">
      <dsp:nvSpPr>
        <dsp:cNvPr id="0" name=""/>
        <dsp:cNvSpPr/>
      </dsp:nvSpPr>
      <dsp:spPr>
        <a:xfrm>
          <a:off x="0" y="1785"/>
          <a:ext cx="11471910" cy="904743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99A633-7A54-4BC1-A31D-CCE305C89A1F}">
      <dsp:nvSpPr>
        <dsp:cNvPr id="0" name=""/>
        <dsp:cNvSpPr/>
      </dsp:nvSpPr>
      <dsp:spPr>
        <a:xfrm>
          <a:off x="273684" y="205352"/>
          <a:ext cx="497609" cy="49760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5250449-CA63-4385-9D23-F987D864CBED}">
      <dsp:nvSpPr>
        <dsp:cNvPr id="0" name=""/>
        <dsp:cNvSpPr/>
      </dsp:nvSpPr>
      <dsp:spPr>
        <a:xfrm>
          <a:off x="1044979" y="1785"/>
          <a:ext cx="10426930" cy="9047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752" tIns="95752" rIns="95752" bIns="9575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kern="1200" dirty="0"/>
            <a:t>Oppmelding til emner – frist 17. august</a:t>
          </a:r>
          <a:endParaRPr lang="en-US" sz="2200" kern="1200" dirty="0"/>
        </a:p>
      </dsp:txBody>
      <dsp:txXfrm>
        <a:off x="1044979" y="1785"/>
        <a:ext cx="10426930" cy="904743"/>
      </dsp:txXfrm>
    </dsp:sp>
    <dsp:sp modelId="{8A7CDFD8-8A51-4237-9987-BA42CAF7854C}">
      <dsp:nvSpPr>
        <dsp:cNvPr id="0" name=""/>
        <dsp:cNvSpPr/>
      </dsp:nvSpPr>
      <dsp:spPr>
        <a:xfrm>
          <a:off x="0" y="1132714"/>
          <a:ext cx="11471910" cy="904743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6C57A-9570-4EA6-909D-3A51C7153CEB}">
      <dsp:nvSpPr>
        <dsp:cNvPr id="0" name=""/>
        <dsp:cNvSpPr/>
      </dsp:nvSpPr>
      <dsp:spPr>
        <a:xfrm>
          <a:off x="273684" y="1336282"/>
          <a:ext cx="497609" cy="49760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F7B92D-8E3C-4135-B408-2DD47E117A01}">
      <dsp:nvSpPr>
        <dsp:cNvPr id="0" name=""/>
        <dsp:cNvSpPr/>
      </dsp:nvSpPr>
      <dsp:spPr>
        <a:xfrm>
          <a:off x="1044979" y="1132714"/>
          <a:ext cx="10426930" cy="9047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752" tIns="95752" rIns="95752" bIns="9575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kern="1200" dirty="0"/>
            <a:t>Betale semesteravgift – frist 1. september</a:t>
          </a:r>
          <a:endParaRPr lang="en-US" sz="2200" kern="1200" dirty="0"/>
        </a:p>
      </dsp:txBody>
      <dsp:txXfrm>
        <a:off x="1044979" y="1132714"/>
        <a:ext cx="10426930" cy="904743"/>
      </dsp:txXfrm>
    </dsp:sp>
    <dsp:sp modelId="{EC435798-3B3E-4C81-BE78-C29AAEDAE761}">
      <dsp:nvSpPr>
        <dsp:cNvPr id="0" name=""/>
        <dsp:cNvSpPr/>
      </dsp:nvSpPr>
      <dsp:spPr>
        <a:xfrm>
          <a:off x="0" y="2263644"/>
          <a:ext cx="11471910" cy="904743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B2A90B-5DBA-4F7A-8A15-939572170DFB}">
      <dsp:nvSpPr>
        <dsp:cNvPr id="0" name=""/>
        <dsp:cNvSpPr/>
      </dsp:nvSpPr>
      <dsp:spPr>
        <a:xfrm>
          <a:off x="273684" y="2467211"/>
          <a:ext cx="497609" cy="49760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4F7028-380F-4774-98AC-C822E9ED2CEB}">
      <dsp:nvSpPr>
        <dsp:cNvPr id="0" name=""/>
        <dsp:cNvSpPr/>
      </dsp:nvSpPr>
      <dsp:spPr>
        <a:xfrm>
          <a:off x="1044979" y="2263644"/>
          <a:ext cx="10426930" cy="9047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752" tIns="95752" rIns="95752" bIns="9575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kern="1200" dirty="0" err="1"/>
            <a:t>Eksamensesultater</a:t>
          </a:r>
          <a:r>
            <a:rPr lang="nb-NO" sz="2200" kern="1200" dirty="0"/>
            <a:t> og karakterer</a:t>
          </a:r>
          <a:endParaRPr lang="en-US" sz="2200" kern="1200" dirty="0"/>
        </a:p>
      </dsp:txBody>
      <dsp:txXfrm>
        <a:off x="1044979" y="2263644"/>
        <a:ext cx="10426930" cy="904743"/>
      </dsp:txXfrm>
    </dsp:sp>
    <dsp:sp modelId="{A7BBA321-CF3E-4FEB-8C15-2206DC94CB45}">
      <dsp:nvSpPr>
        <dsp:cNvPr id="0" name=""/>
        <dsp:cNvSpPr/>
      </dsp:nvSpPr>
      <dsp:spPr>
        <a:xfrm>
          <a:off x="0" y="3394574"/>
          <a:ext cx="11471910" cy="904743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070782-396F-4F9E-89E2-09427EDAE4F1}">
      <dsp:nvSpPr>
        <dsp:cNvPr id="0" name=""/>
        <dsp:cNvSpPr/>
      </dsp:nvSpPr>
      <dsp:spPr>
        <a:xfrm>
          <a:off x="273684" y="3598141"/>
          <a:ext cx="497609" cy="49760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4AF0CE-ACD2-4800-973F-1596065CD22B}">
      <dsp:nvSpPr>
        <dsp:cNvPr id="0" name=""/>
        <dsp:cNvSpPr/>
      </dsp:nvSpPr>
      <dsp:spPr>
        <a:xfrm>
          <a:off x="1044979" y="3394574"/>
          <a:ext cx="10426930" cy="9047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752" tIns="95752" rIns="95752" bIns="9575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kern="1200"/>
            <a:t>Formelle beskjeder</a:t>
          </a:r>
          <a:endParaRPr lang="en-US" sz="2200" kern="1200"/>
        </a:p>
      </dsp:txBody>
      <dsp:txXfrm>
        <a:off x="1044979" y="3394574"/>
        <a:ext cx="10426930" cy="9047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D97C38-B64D-4AE6-9D4E-234525EF8B98}">
      <dsp:nvSpPr>
        <dsp:cNvPr id="0" name=""/>
        <dsp:cNvSpPr/>
      </dsp:nvSpPr>
      <dsp:spPr>
        <a:xfrm>
          <a:off x="0" y="26551"/>
          <a:ext cx="11471910" cy="4248000"/>
        </a:xfrm>
        <a:prstGeom prst="rightArrow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3E717E-F268-484A-A139-F42042499965}">
      <dsp:nvSpPr>
        <dsp:cNvPr id="0" name=""/>
        <dsp:cNvSpPr/>
      </dsp:nvSpPr>
      <dsp:spPr>
        <a:xfrm>
          <a:off x="8338076" y="1088551"/>
          <a:ext cx="2058558" cy="212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03200" rIns="0" bIns="203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2000" kern="1200" dirty="0"/>
            <a:t>Er </a:t>
          </a:r>
          <a:r>
            <a:rPr lang="nn-NO" sz="2000" kern="1200" dirty="0" err="1"/>
            <a:t>noen</a:t>
          </a:r>
          <a:r>
            <a:rPr lang="nn-NO" sz="2000" kern="1200" dirty="0"/>
            <a:t> av </a:t>
          </a:r>
          <a:r>
            <a:rPr lang="nn-NO" sz="2000" kern="1200" dirty="0" err="1"/>
            <a:t>eksamenene</a:t>
          </a:r>
          <a:r>
            <a:rPr lang="nn-NO" sz="2000" kern="1200" dirty="0"/>
            <a:t> på </a:t>
          </a:r>
          <a:r>
            <a:rPr lang="nn-NO" sz="2000" kern="1200" dirty="0" err="1"/>
            <a:t>samme</a:t>
          </a:r>
          <a:r>
            <a:rPr lang="nn-NO" sz="2000" kern="1200" dirty="0"/>
            <a:t> dag?</a:t>
          </a:r>
          <a:endParaRPr lang="en-GB" sz="2000" kern="1200" dirty="0"/>
        </a:p>
      </dsp:txBody>
      <dsp:txXfrm>
        <a:off x="8338076" y="1088551"/>
        <a:ext cx="2058558" cy="2124000"/>
      </dsp:txXfrm>
    </dsp:sp>
    <dsp:sp modelId="{20E563A0-937C-43A7-A60F-01614D05C193}">
      <dsp:nvSpPr>
        <dsp:cNvPr id="0" name=""/>
        <dsp:cNvSpPr/>
      </dsp:nvSpPr>
      <dsp:spPr>
        <a:xfrm>
          <a:off x="5867806" y="1088551"/>
          <a:ext cx="2058558" cy="212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03200" rIns="0" bIns="203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2000" kern="1200" dirty="0"/>
            <a:t>Når går </a:t>
          </a:r>
          <a:r>
            <a:rPr lang="nn-NO" sz="2000" kern="1200" dirty="0" err="1"/>
            <a:t>undervisningen</a:t>
          </a:r>
          <a:r>
            <a:rPr lang="nn-NO" sz="2000" kern="1200" dirty="0"/>
            <a:t>? Kolliderer </a:t>
          </a:r>
          <a:r>
            <a:rPr lang="nn-NO" sz="2000" kern="1200" dirty="0" err="1"/>
            <a:t>timeplanene</a:t>
          </a:r>
          <a:r>
            <a:rPr lang="nn-NO" sz="2000" kern="1200" dirty="0"/>
            <a:t>?</a:t>
          </a:r>
          <a:endParaRPr lang="en-GB" sz="2000" kern="1200" dirty="0"/>
        </a:p>
      </dsp:txBody>
      <dsp:txXfrm>
        <a:off x="5867806" y="1088551"/>
        <a:ext cx="2058558" cy="2124000"/>
      </dsp:txXfrm>
    </dsp:sp>
    <dsp:sp modelId="{AD4A56D6-B5C5-433D-B7B7-69E35E9E81D5}">
      <dsp:nvSpPr>
        <dsp:cNvPr id="0" name=""/>
        <dsp:cNvSpPr/>
      </dsp:nvSpPr>
      <dsp:spPr>
        <a:xfrm>
          <a:off x="3397536" y="1088551"/>
          <a:ext cx="2058558" cy="212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03200" rIns="0" bIns="203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2000" kern="1200" dirty="0" err="1"/>
            <a:t>Hvilke</a:t>
          </a:r>
          <a:r>
            <a:rPr lang="nn-NO" sz="2000" kern="1200" dirty="0"/>
            <a:t> </a:t>
          </a:r>
          <a:r>
            <a:rPr lang="nn-NO" sz="2000" kern="1200" dirty="0" err="1"/>
            <a:t>emner</a:t>
          </a:r>
          <a:r>
            <a:rPr lang="nn-NO" sz="2000" kern="1200" dirty="0"/>
            <a:t> skal du ta? </a:t>
          </a:r>
          <a:r>
            <a:rPr lang="nn-NO" sz="2000" kern="1200" dirty="0" err="1"/>
            <a:t>Hva</a:t>
          </a:r>
          <a:r>
            <a:rPr lang="nn-NO" sz="2000" kern="1200" dirty="0"/>
            <a:t> er emnekodene?</a:t>
          </a:r>
          <a:endParaRPr lang="en-GB" sz="2000" kern="1200" dirty="0"/>
        </a:p>
      </dsp:txBody>
      <dsp:txXfrm>
        <a:off x="3397536" y="1088551"/>
        <a:ext cx="2058558" cy="2124000"/>
      </dsp:txXfrm>
    </dsp:sp>
    <dsp:sp modelId="{73CBF0C1-C73E-41A3-B457-488937B55F80}">
      <dsp:nvSpPr>
        <dsp:cNvPr id="0" name=""/>
        <dsp:cNvSpPr/>
      </dsp:nvSpPr>
      <dsp:spPr>
        <a:xfrm>
          <a:off x="927267" y="1088551"/>
          <a:ext cx="2058558" cy="212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03200" rIns="0" bIns="203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2000" kern="1200" dirty="0"/>
            <a:t>Stemmer </a:t>
          </a:r>
          <a:r>
            <a:rPr lang="nn-NO" sz="2000" kern="1200" dirty="0" err="1"/>
            <a:t>valgene</a:t>
          </a:r>
          <a:r>
            <a:rPr lang="nn-NO" sz="2000" kern="1200" dirty="0"/>
            <a:t> dine med oppbygning av graden?</a:t>
          </a:r>
          <a:endParaRPr lang="en-GB" sz="2000" kern="1200" dirty="0"/>
        </a:p>
      </dsp:txBody>
      <dsp:txXfrm>
        <a:off x="927267" y="1088551"/>
        <a:ext cx="2058558" cy="21240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47A3E9-A106-43B5-B50D-F58BA881AFC0}">
      <dsp:nvSpPr>
        <dsp:cNvPr id="0" name=""/>
        <dsp:cNvSpPr/>
      </dsp:nvSpPr>
      <dsp:spPr>
        <a:xfrm>
          <a:off x="0" y="1785"/>
          <a:ext cx="11471910" cy="904743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DC180C-236D-4B92-99CB-180F4213D0D6}">
      <dsp:nvSpPr>
        <dsp:cNvPr id="0" name=""/>
        <dsp:cNvSpPr/>
      </dsp:nvSpPr>
      <dsp:spPr>
        <a:xfrm>
          <a:off x="273684" y="205352"/>
          <a:ext cx="497609" cy="49760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BAEE2B-80E7-4AD1-AAB6-B3C0FE8BD553}">
      <dsp:nvSpPr>
        <dsp:cNvPr id="0" name=""/>
        <dsp:cNvSpPr/>
      </dsp:nvSpPr>
      <dsp:spPr>
        <a:xfrm>
          <a:off x="1044979" y="1785"/>
          <a:ext cx="10426930" cy="9047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752" tIns="95752" rIns="95752" bIns="9575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b="0" i="0" kern="1200" dirty="0"/>
            <a:t>Hjemmeside for hvert emne</a:t>
          </a:r>
          <a:endParaRPr lang="en-US" sz="2200" kern="1200" dirty="0"/>
        </a:p>
      </dsp:txBody>
      <dsp:txXfrm>
        <a:off x="1044979" y="1785"/>
        <a:ext cx="10426930" cy="904743"/>
      </dsp:txXfrm>
    </dsp:sp>
    <dsp:sp modelId="{3014D3A8-0B1B-4230-A699-60442C0C2FF4}">
      <dsp:nvSpPr>
        <dsp:cNvPr id="0" name=""/>
        <dsp:cNvSpPr/>
      </dsp:nvSpPr>
      <dsp:spPr>
        <a:xfrm>
          <a:off x="0" y="1132714"/>
          <a:ext cx="11471910" cy="904743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84CCD6-F1DC-4314-8BB5-EF70BDFCFB13}">
      <dsp:nvSpPr>
        <dsp:cNvPr id="0" name=""/>
        <dsp:cNvSpPr/>
      </dsp:nvSpPr>
      <dsp:spPr>
        <a:xfrm>
          <a:off x="273684" y="1336282"/>
          <a:ext cx="497609" cy="49760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80184B-5025-4EA4-BD84-23ECB7D915FB}">
      <dsp:nvSpPr>
        <dsp:cNvPr id="0" name=""/>
        <dsp:cNvSpPr/>
      </dsp:nvSpPr>
      <dsp:spPr>
        <a:xfrm>
          <a:off x="1044979" y="1132714"/>
          <a:ext cx="10426930" cy="9047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752" tIns="95752" rIns="95752" bIns="9575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Pensum </a:t>
          </a:r>
          <a:r>
            <a:rPr lang="en-US" sz="2200" kern="1200" dirty="0" err="1"/>
            <a:t>og</a:t>
          </a:r>
          <a:r>
            <a:rPr lang="en-US" sz="2200" kern="1200" dirty="0"/>
            <a:t> </a:t>
          </a:r>
          <a:r>
            <a:rPr lang="en-US" sz="2200" kern="1200" dirty="0" err="1"/>
            <a:t>undervisningsressurser</a:t>
          </a:r>
          <a:endParaRPr lang="en-US" sz="2200" kern="1200" dirty="0"/>
        </a:p>
      </dsp:txBody>
      <dsp:txXfrm>
        <a:off x="1044979" y="1132714"/>
        <a:ext cx="10426930" cy="904743"/>
      </dsp:txXfrm>
    </dsp:sp>
    <dsp:sp modelId="{D4D435CA-1E32-4178-B0E1-862A8AA84529}">
      <dsp:nvSpPr>
        <dsp:cNvPr id="0" name=""/>
        <dsp:cNvSpPr/>
      </dsp:nvSpPr>
      <dsp:spPr>
        <a:xfrm>
          <a:off x="0" y="2263644"/>
          <a:ext cx="11471910" cy="904743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30787AC-BDE8-4C56-B918-4EF58499A057}">
      <dsp:nvSpPr>
        <dsp:cNvPr id="0" name=""/>
        <dsp:cNvSpPr/>
      </dsp:nvSpPr>
      <dsp:spPr>
        <a:xfrm>
          <a:off x="273684" y="2467211"/>
          <a:ext cx="497609" cy="49760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57FBF0-3349-4AAE-8187-76A176FA662B}">
      <dsp:nvSpPr>
        <dsp:cNvPr id="0" name=""/>
        <dsp:cNvSpPr/>
      </dsp:nvSpPr>
      <dsp:spPr>
        <a:xfrm>
          <a:off x="1044979" y="2263644"/>
          <a:ext cx="10426930" cy="9047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752" tIns="95752" rIns="95752" bIns="9575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b="0" i="0" kern="1200" dirty="0"/>
            <a:t>Kvalifisering til eksamen </a:t>
          </a:r>
          <a:endParaRPr lang="en-US" sz="2200" kern="1200" dirty="0"/>
        </a:p>
      </dsp:txBody>
      <dsp:txXfrm>
        <a:off x="1044979" y="2263644"/>
        <a:ext cx="10426930" cy="904743"/>
      </dsp:txXfrm>
    </dsp:sp>
    <dsp:sp modelId="{9C90510F-3EA4-44FC-B81B-F93DF93FE34C}">
      <dsp:nvSpPr>
        <dsp:cNvPr id="0" name=""/>
        <dsp:cNvSpPr/>
      </dsp:nvSpPr>
      <dsp:spPr>
        <a:xfrm>
          <a:off x="0" y="3394574"/>
          <a:ext cx="11471910" cy="904743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E7FD43-6E69-45A3-AC83-3E290F2FBA30}">
      <dsp:nvSpPr>
        <dsp:cNvPr id="0" name=""/>
        <dsp:cNvSpPr/>
      </dsp:nvSpPr>
      <dsp:spPr>
        <a:xfrm>
          <a:off x="273684" y="3598141"/>
          <a:ext cx="497609" cy="49760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9FDFCF-BF82-410F-890E-35DBB611A253}">
      <dsp:nvSpPr>
        <dsp:cNvPr id="0" name=""/>
        <dsp:cNvSpPr/>
      </dsp:nvSpPr>
      <dsp:spPr>
        <a:xfrm>
          <a:off x="1044979" y="3394574"/>
          <a:ext cx="10426930" cy="9047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752" tIns="95752" rIns="95752" bIns="95752" numCol="1" spcCol="1270" anchor="ctr" anchorCtr="0">
          <a:noAutofit/>
        </a:bodyPr>
        <a:lstStyle/>
        <a:p>
          <a:pPr marL="0" lvl="0" indent="0" algn="l" defTabSz="9779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200" b="0" i="0" kern="1200" dirty="0"/>
            <a:t>Kommunisere med underviser og studenter</a:t>
          </a:r>
          <a:endParaRPr lang="en-US" sz="2200" kern="1200" dirty="0"/>
        </a:p>
      </dsp:txBody>
      <dsp:txXfrm>
        <a:off x="1044979" y="3394574"/>
        <a:ext cx="10426930" cy="90474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C261D5-9B9A-4205-B1B2-629388B8A5A1}">
      <dsp:nvSpPr>
        <dsp:cNvPr id="0" name=""/>
        <dsp:cNvSpPr/>
      </dsp:nvSpPr>
      <dsp:spPr>
        <a:xfrm>
          <a:off x="0" y="54"/>
          <a:ext cx="5489575" cy="955597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kern="1200" dirty="0">
              <a:solidFill>
                <a:schemeClr val="tx1"/>
              </a:solidFill>
            </a:rPr>
            <a:t>Logg inn via Mine studier, på </a:t>
          </a:r>
          <a:r>
            <a:rPr lang="en-GB" sz="1800" kern="1200" dirty="0">
              <a:hlinkClick xmlns:r="http://schemas.openxmlformats.org/officeDocument/2006/relationships" r:id="rId1"/>
            </a:rPr>
            <a:t>Outlook (uio.no)</a:t>
          </a:r>
          <a:r>
            <a:rPr lang="en-GB" sz="1800" kern="1200" dirty="0"/>
            <a:t>,</a:t>
          </a:r>
          <a:r>
            <a:rPr lang="nb-NO" sz="1800" kern="1200" dirty="0">
              <a:solidFill>
                <a:schemeClr val="tx1"/>
              </a:solidFill>
            </a:rPr>
            <a:t>eller koble til mailapp på mobilen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46648" y="46702"/>
        <a:ext cx="5396279" cy="862301"/>
      </dsp:txXfrm>
    </dsp:sp>
    <dsp:sp modelId="{BC6B47C4-63D0-4DAE-B239-4DB566B6C311}">
      <dsp:nvSpPr>
        <dsp:cNvPr id="0" name=""/>
        <dsp:cNvSpPr/>
      </dsp:nvSpPr>
      <dsp:spPr>
        <a:xfrm>
          <a:off x="0" y="1007491"/>
          <a:ext cx="5489575" cy="955597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kern="1200" dirty="0">
              <a:solidFill>
                <a:schemeClr val="tx1"/>
              </a:solidFill>
            </a:rPr>
            <a:t>Personlige e-postkonto </a:t>
          </a:r>
        </a:p>
      </dsp:txBody>
      <dsp:txXfrm>
        <a:off x="46648" y="1054139"/>
        <a:ext cx="5396279" cy="862301"/>
      </dsp:txXfrm>
    </dsp:sp>
    <dsp:sp modelId="{C88B3D87-9865-42C4-AA2E-DA6BBC095FF8}">
      <dsp:nvSpPr>
        <dsp:cNvPr id="0" name=""/>
        <dsp:cNvSpPr/>
      </dsp:nvSpPr>
      <dsp:spPr>
        <a:xfrm>
          <a:off x="0" y="2014929"/>
          <a:ext cx="5489575" cy="955597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Kontakt</a:t>
          </a:r>
          <a:r>
            <a:rPr lang="en-US" sz="1800" kern="1200" dirty="0">
              <a:solidFill>
                <a:schemeClr val="tx1"/>
              </a:solidFill>
            </a:rPr>
            <a:t> </a:t>
          </a:r>
          <a:r>
            <a:rPr lang="en-US" sz="1800" kern="1200" dirty="0" err="1">
              <a:solidFill>
                <a:schemeClr val="tx1"/>
              </a:solidFill>
            </a:rPr>
            <a:t>undervisere</a:t>
          </a:r>
          <a:r>
            <a:rPr lang="en-US" sz="1800" kern="1200" dirty="0">
              <a:solidFill>
                <a:schemeClr val="tx1"/>
              </a:solidFill>
            </a:rPr>
            <a:t>, </a:t>
          </a:r>
          <a:r>
            <a:rPr lang="en-US" sz="1800" kern="1200" dirty="0" err="1">
              <a:solidFill>
                <a:schemeClr val="tx1"/>
              </a:solidFill>
            </a:rPr>
            <a:t>studieadministrasjonen</a:t>
          </a:r>
          <a:r>
            <a:rPr lang="en-US" sz="1800" kern="1200" dirty="0">
              <a:solidFill>
                <a:schemeClr val="tx1"/>
              </a:solidFill>
            </a:rPr>
            <a:t> </a:t>
          </a:r>
          <a:r>
            <a:rPr lang="en-US" sz="1800" kern="1200" dirty="0" err="1">
              <a:solidFill>
                <a:schemeClr val="tx1"/>
              </a:solidFill>
            </a:rPr>
            <a:t>eller</a:t>
          </a:r>
          <a:r>
            <a:rPr lang="en-US" sz="1800" kern="1200" dirty="0">
              <a:solidFill>
                <a:schemeClr val="tx1"/>
              </a:solidFill>
            </a:rPr>
            <a:t> </a:t>
          </a:r>
          <a:r>
            <a:rPr lang="en-US" sz="1800" kern="1200" dirty="0" err="1">
              <a:solidFill>
                <a:schemeClr val="tx1"/>
              </a:solidFill>
            </a:rPr>
            <a:t>medstudenter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46648" y="2061577"/>
        <a:ext cx="5396279" cy="862301"/>
      </dsp:txXfrm>
    </dsp:sp>
    <dsp:sp modelId="{BDD588BF-29F7-453A-A054-A5E09D6AFC79}">
      <dsp:nvSpPr>
        <dsp:cNvPr id="0" name=""/>
        <dsp:cNvSpPr/>
      </dsp:nvSpPr>
      <dsp:spPr>
        <a:xfrm>
          <a:off x="0" y="3022366"/>
          <a:ext cx="5489575" cy="955597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>
              <a:solidFill>
                <a:schemeClr val="tx1"/>
              </a:solidFill>
            </a:rPr>
            <a:t>Via </a:t>
          </a:r>
          <a:r>
            <a:rPr lang="en-US" sz="1800" kern="1200" dirty="0">
              <a:hlinkClick xmlns:r="http://schemas.openxmlformats.org/officeDocument/2006/relationships" r:id="rId2"/>
            </a:rPr>
            <a:t>Log on - </a:t>
          </a:r>
          <a:r>
            <a:rPr lang="en-US" sz="1800" kern="1200" dirty="0" err="1">
              <a:hlinkClick xmlns:r="http://schemas.openxmlformats.org/officeDocument/2006/relationships" r:id="rId2"/>
            </a:rPr>
            <a:t>Brukerinfo</a:t>
          </a:r>
          <a:r>
            <a:rPr lang="en-US" sz="1800" kern="1200" dirty="0">
              <a:hlinkClick xmlns:r="http://schemas.openxmlformats.org/officeDocument/2006/relationships" r:id="rId2"/>
            </a:rPr>
            <a:t> - University of Oslo (uio.no)</a:t>
          </a:r>
          <a:r>
            <a:rPr lang="en-US" sz="1800" kern="1200" dirty="0"/>
            <a:t> </a:t>
          </a:r>
          <a:r>
            <a:rPr lang="nb-NO" sz="1800" kern="1200" dirty="0">
              <a:solidFill>
                <a:schemeClr val="tx1"/>
              </a:solidFill>
            </a:rPr>
            <a:t>kan man koble mailadressen til privat e-postkonto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46648" y="3069014"/>
        <a:ext cx="5396279" cy="862301"/>
      </dsp:txXfrm>
    </dsp:sp>
    <dsp:sp modelId="{0F80E1E2-56E1-4E0A-9772-0050450DC711}">
      <dsp:nvSpPr>
        <dsp:cNvPr id="0" name=""/>
        <dsp:cNvSpPr/>
      </dsp:nvSpPr>
      <dsp:spPr>
        <a:xfrm>
          <a:off x="0" y="4029804"/>
          <a:ext cx="5489575" cy="955597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chemeClr val="tx1"/>
              </a:solidFill>
            </a:rPr>
            <a:t>Har du </a:t>
          </a:r>
          <a:r>
            <a:rPr lang="en-US" sz="1800" kern="1200" dirty="0" err="1">
              <a:solidFill>
                <a:schemeClr val="tx1"/>
              </a:solidFill>
            </a:rPr>
            <a:t>problemer</a:t>
          </a:r>
          <a:r>
            <a:rPr lang="en-US" sz="1800" kern="1200" dirty="0">
              <a:solidFill>
                <a:schemeClr val="tx1"/>
              </a:solidFill>
            </a:rPr>
            <a:t> med </a:t>
          </a:r>
          <a:r>
            <a:rPr lang="en-US" sz="1800" kern="1200" dirty="0" err="1">
              <a:solidFill>
                <a:schemeClr val="tx1"/>
              </a:solidFill>
            </a:rPr>
            <a:t>kontoen</a:t>
          </a:r>
          <a:r>
            <a:rPr lang="en-US" sz="1800" kern="1200" dirty="0">
              <a:solidFill>
                <a:schemeClr val="tx1"/>
              </a:solidFill>
            </a:rPr>
            <a:t> </a:t>
          </a:r>
          <a:r>
            <a:rPr lang="en-US" sz="1800" kern="1200" dirty="0" err="1">
              <a:solidFill>
                <a:schemeClr val="tx1"/>
              </a:solidFill>
            </a:rPr>
            <a:t>eller</a:t>
          </a:r>
          <a:r>
            <a:rPr lang="en-US" sz="1800" kern="1200" dirty="0">
              <a:solidFill>
                <a:schemeClr val="tx1"/>
              </a:solidFill>
            </a:rPr>
            <a:t> </a:t>
          </a:r>
          <a:r>
            <a:rPr lang="en-US" sz="1800" kern="1200" dirty="0" err="1">
              <a:solidFill>
                <a:schemeClr val="tx1"/>
              </a:solidFill>
            </a:rPr>
            <a:t>innlogging</a:t>
          </a:r>
          <a:r>
            <a:rPr lang="en-US" sz="1800" kern="1200" dirty="0">
              <a:solidFill>
                <a:schemeClr val="tx1"/>
              </a:solidFill>
            </a:rPr>
            <a:t>? Du </a:t>
          </a:r>
          <a:r>
            <a:rPr lang="en-US" sz="1800" kern="1200" dirty="0" err="1">
              <a:solidFill>
                <a:schemeClr val="tx1"/>
              </a:solidFill>
            </a:rPr>
            <a:t>får</a:t>
          </a:r>
          <a:r>
            <a:rPr lang="en-US" sz="1800" kern="1200" dirty="0">
              <a:solidFill>
                <a:schemeClr val="tx1"/>
              </a:solidFill>
            </a:rPr>
            <a:t> </a:t>
          </a:r>
          <a:r>
            <a:rPr lang="en-US" sz="1800" kern="1200" dirty="0" err="1">
              <a:solidFill>
                <a:schemeClr val="tx1"/>
              </a:solidFill>
            </a:rPr>
            <a:t>hjelp</a:t>
          </a:r>
          <a:r>
            <a:rPr lang="en-US" sz="1800" kern="1200" dirty="0">
              <a:solidFill>
                <a:schemeClr val="tx1"/>
              </a:solidFill>
            </a:rPr>
            <a:t> av </a:t>
          </a:r>
          <a:r>
            <a:rPr lang="en-GB" sz="1800" kern="1200" dirty="0">
              <a:hlinkClick xmlns:r="http://schemas.openxmlformats.org/officeDocument/2006/relationships" r:id="rId3"/>
            </a:rPr>
            <a:t>IT-</a:t>
          </a:r>
          <a:r>
            <a:rPr lang="en-GB" sz="1800" kern="1200" dirty="0" err="1">
              <a:hlinkClick xmlns:r="http://schemas.openxmlformats.org/officeDocument/2006/relationships" r:id="rId3"/>
            </a:rPr>
            <a:t>tjenester</a:t>
          </a:r>
          <a:r>
            <a:rPr lang="en-GB" sz="1800" kern="1200" dirty="0">
              <a:hlinkClick xmlns:r="http://schemas.openxmlformats.org/officeDocument/2006/relationships" r:id="rId3"/>
            </a:rPr>
            <a:t> - </a:t>
          </a:r>
          <a:r>
            <a:rPr lang="en-GB" sz="1800" kern="1200" dirty="0" err="1">
              <a:hlinkClick xmlns:r="http://schemas.openxmlformats.org/officeDocument/2006/relationships" r:id="rId3"/>
            </a:rPr>
            <a:t>Universitetet</a:t>
          </a:r>
          <a:r>
            <a:rPr lang="en-GB" sz="1800" kern="1200" dirty="0">
              <a:hlinkClick xmlns:r="http://schemas.openxmlformats.org/officeDocument/2006/relationships" r:id="rId3"/>
            </a:rPr>
            <a:t> </a:t>
          </a:r>
          <a:r>
            <a:rPr lang="en-GB" sz="1800" kern="1200" dirty="0" err="1">
              <a:hlinkClick xmlns:r="http://schemas.openxmlformats.org/officeDocument/2006/relationships" r:id="rId3"/>
            </a:rPr>
            <a:t>i</a:t>
          </a:r>
          <a:r>
            <a:rPr lang="en-GB" sz="1800" kern="1200" dirty="0">
              <a:hlinkClick xmlns:r="http://schemas.openxmlformats.org/officeDocument/2006/relationships" r:id="rId3"/>
            </a:rPr>
            <a:t> Oslo (uio.no)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46648" y="4076452"/>
        <a:ext cx="5396279" cy="86230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1DDCBD-E79C-43A9-BD5D-A625684CC673}">
      <dsp:nvSpPr>
        <dsp:cNvPr id="0" name=""/>
        <dsp:cNvSpPr/>
      </dsp:nvSpPr>
      <dsp:spPr>
        <a:xfrm>
          <a:off x="0" y="782813"/>
          <a:ext cx="11471910" cy="1445193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32732E3-CAEE-4725-A381-F16D5F54A301}">
      <dsp:nvSpPr>
        <dsp:cNvPr id="0" name=""/>
        <dsp:cNvSpPr/>
      </dsp:nvSpPr>
      <dsp:spPr>
        <a:xfrm>
          <a:off x="437171" y="1107981"/>
          <a:ext cx="794856" cy="79485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51C4AE-AE5A-463E-B6AD-87C8C22043A3}">
      <dsp:nvSpPr>
        <dsp:cNvPr id="0" name=""/>
        <dsp:cNvSpPr/>
      </dsp:nvSpPr>
      <dsp:spPr>
        <a:xfrm>
          <a:off x="1669198" y="782813"/>
          <a:ext cx="9802711" cy="14451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950" tIns="152950" rIns="152950" bIns="152950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i="0" kern="1200"/>
            <a:t>Jobbklar gir deg hjelp til å utvikle ferdigheter og bruke verktøy som er nyttige både under studiene og i arbeidslivet. </a:t>
          </a:r>
          <a:endParaRPr lang="en-GB" sz="2500" kern="1200"/>
        </a:p>
      </dsp:txBody>
      <dsp:txXfrm>
        <a:off x="1669198" y="782813"/>
        <a:ext cx="9802711" cy="1445193"/>
      </dsp:txXfrm>
    </dsp:sp>
    <dsp:sp modelId="{71BE2FF0-092C-4C76-86CA-FD45AE8AB29C}">
      <dsp:nvSpPr>
        <dsp:cNvPr id="0" name=""/>
        <dsp:cNvSpPr/>
      </dsp:nvSpPr>
      <dsp:spPr>
        <a:xfrm>
          <a:off x="0" y="2589305"/>
          <a:ext cx="11471910" cy="1445193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127243-2C7D-48B0-BBFF-0F449869C6BF}">
      <dsp:nvSpPr>
        <dsp:cNvPr id="0" name=""/>
        <dsp:cNvSpPr/>
      </dsp:nvSpPr>
      <dsp:spPr>
        <a:xfrm>
          <a:off x="437171" y="2914473"/>
          <a:ext cx="794856" cy="79485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DD7005-F37C-4FB0-BF94-F8A90E8A006C}">
      <dsp:nvSpPr>
        <dsp:cNvPr id="0" name=""/>
        <dsp:cNvSpPr/>
      </dsp:nvSpPr>
      <dsp:spPr>
        <a:xfrm>
          <a:off x="1669198" y="2589305"/>
          <a:ext cx="9802711" cy="14451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950" tIns="152950" rIns="152950" bIns="152950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i="0" kern="1200"/>
            <a:t>Du får også informasjon om utlysninger, småjobber og fellesarrangementer på studieprogrammet ditt. </a:t>
          </a:r>
          <a:endParaRPr lang="en-GB" sz="2500" kern="1200"/>
        </a:p>
      </dsp:txBody>
      <dsp:txXfrm>
        <a:off x="1669198" y="2589305"/>
        <a:ext cx="9802711" cy="14451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8/1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le nye bachelor- </a:t>
            </a:r>
            <a:r>
              <a:rPr lang="en-US" dirty="0" err="1"/>
              <a:t>og</a:t>
            </a:r>
            <a:r>
              <a:rPr lang="en-US" dirty="0"/>
              <a:t> </a:t>
            </a:r>
            <a:r>
              <a:rPr lang="en-US" dirty="0" err="1"/>
              <a:t>profesjonsstudenter</a:t>
            </a:r>
            <a:r>
              <a:rPr lang="en-US" dirty="0"/>
              <a:t> </a:t>
            </a:r>
            <a:r>
              <a:rPr lang="en-US" dirty="0" err="1"/>
              <a:t>får</a:t>
            </a:r>
            <a:r>
              <a:rPr lang="en-US" dirty="0"/>
              <a:t> den nye </a:t>
            </a:r>
            <a:r>
              <a:rPr lang="en-US" dirty="0" err="1"/>
              <a:t>funksjonaliteten</a:t>
            </a:r>
            <a:r>
              <a:rPr lang="en-US" dirty="0"/>
              <a:t> I Mine studier. Den er </a:t>
            </a:r>
            <a:r>
              <a:rPr lang="en-US" dirty="0" err="1"/>
              <a:t>tilgjengelig</a:t>
            </a:r>
            <a:r>
              <a:rPr lang="en-US" dirty="0"/>
              <a:t> </a:t>
            </a:r>
            <a:r>
              <a:rPr lang="en-US" dirty="0" err="1"/>
              <a:t>fra</a:t>
            </a:r>
            <a:r>
              <a:rPr lang="en-US" dirty="0"/>
              <a:t> 3. august </a:t>
            </a:r>
            <a:r>
              <a:rPr lang="en-US" dirty="0" err="1"/>
              <a:t>til</a:t>
            </a:r>
            <a:r>
              <a:rPr lang="en-US" dirty="0"/>
              <a:t> I </a:t>
            </a:r>
            <a:r>
              <a:rPr lang="en-US" dirty="0" err="1"/>
              <a:t>begynnelsen</a:t>
            </a:r>
            <a:r>
              <a:rPr lang="en-US" dirty="0"/>
              <a:t> av </a:t>
            </a:r>
            <a:r>
              <a:rPr lang="en-US" dirty="0" err="1"/>
              <a:t>september</a:t>
            </a:r>
            <a:r>
              <a:rPr lang="en-US" dirty="0"/>
              <a:t>. </a:t>
            </a:r>
          </a:p>
          <a:p>
            <a:r>
              <a:rPr lang="en-US" dirty="0" err="1"/>
              <a:t>Hvorfor</a:t>
            </a:r>
            <a:r>
              <a:rPr lang="en-US" dirty="0"/>
              <a:t> </a:t>
            </a:r>
            <a:r>
              <a:rPr lang="en-US" dirty="0" err="1"/>
              <a:t>har</a:t>
            </a:r>
            <a:r>
              <a:rPr lang="en-US" dirty="0"/>
              <a:t> vi </a:t>
            </a:r>
            <a:r>
              <a:rPr lang="en-US" dirty="0" err="1"/>
              <a:t>laget</a:t>
            </a:r>
            <a:r>
              <a:rPr lang="en-US" dirty="0"/>
              <a:t> </a:t>
            </a:r>
            <a:r>
              <a:rPr lang="en-US" dirty="0" err="1"/>
              <a:t>ny</a:t>
            </a:r>
            <a:r>
              <a:rPr lang="en-US" dirty="0"/>
              <a:t> </a:t>
            </a:r>
            <a:r>
              <a:rPr lang="en-US" dirty="0" err="1"/>
              <a:t>funksjonalitet</a:t>
            </a:r>
            <a:r>
              <a:rPr lang="en-US" dirty="0"/>
              <a:t> for </a:t>
            </a:r>
            <a:r>
              <a:rPr lang="en-US" dirty="0" err="1"/>
              <a:t>studentene</a:t>
            </a:r>
            <a:r>
              <a:rPr lang="en-US" dirty="0"/>
              <a:t>: </a:t>
            </a:r>
          </a:p>
          <a:p>
            <a:pPr marL="285750" indent="-285750">
              <a:buFont typeface="Arial,Sans-Serif"/>
              <a:buChar char="•"/>
            </a:pPr>
            <a:r>
              <a:rPr lang="en-US" dirty="0"/>
              <a:t>Gi </a:t>
            </a:r>
            <a:r>
              <a:rPr lang="en-US" dirty="0" err="1"/>
              <a:t>studentene</a:t>
            </a:r>
            <a:r>
              <a:rPr lang="en-US" dirty="0"/>
              <a:t> </a:t>
            </a:r>
            <a:r>
              <a:rPr lang="en-US" dirty="0" err="1"/>
              <a:t>en</a:t>
            </a:r>
            <a:r>
              <a:rPr lang="en-US" dirty="0"/>
              <a:t> </a:t>
            </a:r>
            <a:r>
              <a:rPr lang="en-US" dirty="0" err="1"/>
              <a:t>enda</a:t>
            </a:r>
            <a:r>
              <a:rPr lang="en-US" dirty="0"/>
              <a:t> </a:t>
            </a:r>
            <a:r>
              <a:rPr lang="en-US" dirty="0" err="1"/>
              <a:t>bedre</a:t>
            </a:r>
            <a:r>
              <a:rPr lang="en-US" dirty="0"/>
              <a:t> </a:t>
            </a:r>
            <a:r>
              <a:rPr lang="en-US" dirty="0" err="1"/>
              <a:t>overgang</a:t>
            </a:r>
            <a:r>
              <a:rPr lang="en-US" dirty="0"/>
              <a:t> </a:t>
            </a:r>
            <a:r>
              <a:rPr lang="en-US" dirty="0" err="1"/>
              <a:t>til</a:t>
            </a:r>
            <a:r>
              <a:rPr lang="en-US" dirty="0"/>
              <a:t> </a:t>
            </a:r>
            <a:r>
              <a:rPr lang="en-US" dirty="0" err="1"/>
              <a:t>studentlivet</a:t>
            </a:r>
            <a:r>
              <a:rPr lang="en-US" dirty="0"/>
              <a:t> </a:t>
            </a:r>
          </a:p>
          <a:p>
            <a:pPr marL="285750" indent="-285750">
              <a:buFont typeface="Arial,Sans-Serif"/>
              <a:buChar char="•"/>
            </a:pPr>
            <a:r>
              <a:rPr lang="en-US" dirty="0" err="1"/>
              <a:t>Trygge</a:t>
            </a:r>
            <a:r>
              <a:rPr lang="en-US" dirty="0"/>
              <a:t> </a:t>
            </a:r>
            <a:r>
              <a:rPr lang="en-US" dirty="0" err="1"/>
              <a:t>studentene</a:t>
            </a:r>
            <a:r>
              <a:rPr lang="en-US" dirty="0"/>
              <a:t> </a:t>
            </a:r>
            <a:r>
              <a:rPr lang="en-US" dirty="0" err="1"/>
              <a:t>på</a:t>
            </a:r>
            <a:r>
              <a:rPr lang="en-US" dirty="0"/>
              <a:t> </a:t>
            </a:r>
            <a:r>
              <a:rPr lang="en-US" dirty="0" err="1"/>
              <a:t>hva</a:t>
            </a:r>
            <a:r>
              <a:rPr lang="en-US" dirty="0"/>
              <a:t> de </a:t>
            </a:r>
            <a:r>
              <a:rPr lang="en-US" dirty="0" err="1"/>
              <a:t>må</a:t>
            </a:r>
            <a:r>
              <a:rPr lang="en-US" dirty="0"/>
              <a:t> </a:t>
            </a:r>
            <a:r>
              <a:rPr lang="en-US" dirty="0" err="1"/>
              <a:t>gjøre</a:t>
            </a:r>
            <a:r>
              <a:rPr lang="en-US" dirty="0"/>
              <a:t> </a:t>
            </a:r>
            <a:r>
              <a:rPr lang="en-US" dirty="0" err="1"/>
              <a:t>når</a:t>
            </a:r>
            <a:r>
              <a:rPr lang="en-US" dirty="0"/>
              <a:t> de starter – </a:t>
            </a:r>
            <a:r>
              <a:rPr lang="en-US" dirty="0" err="1"/>
              <a:t>og</a:t>
            </a:r>
            <a:r>
              <a:rPr lang="en-US" dirty="0"/>
              <a:t> at de </a:t>
            </a:r>
            <a:r>
              <a:rPr lang="en-US" dirty="0" err="1"/>
              <a:t>har</a:t>
            </a:r>
            <a:r>
              <a:rPr lang="en-US" dirty="0"/>
              <a:t> </a:t>
            </a:r>
            <a:r>
              <a:rPr lang="en-US" dirty="0" err="1"/>
              <a:t>husket</a:t>
            </a:r>
            <a:r>
              <a:rPr lang="en-US" dirty="0"/>
              <a:t> alt</a:t>
            </a:r>
            <a:endParaRPr lang="en-US" dirty="0">
              <a:cs typeface="Calibri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dirty="0" err="1"/>
              <a:t>Gjøre</a:t>
            </a:r>
            <a:r>
              <a:rPr lang="en-US" dirty="0"/>
              <a:t> det </a:t>
            </a:r>
            <a:r>
              <a:rPr lang="en-US" dirty="0" err="1"/>
              <a:t>enda</a:t>
            </a:r>
            <a:r>
              <a:rPr lang="en-US" dirty="0"/>
              <a:t> </a:t>
            </a:r>
            <a:r>
              <a:rPr lang="en-US" dirty="0" err="1"/>
              <a:t>enklere</a:t>
            </a:r>
            <a:r>
              <a:rPr lang="en-US" dirty="0"/>
              <a:t> å </a:t>
            </a:r>
            <a:r>
              <a:rPr lang="en-US" dirty="0" err="1"/>
              <a:t>forberede</a:t>
            </a:r>
            <a:r>
              <a:rPr lang="en-US" dirty="0"/>
              <a:t> seg </a:t>
            </a:r>
            <a:r>
              <a:rPr lang="en-US" dirty="0" err="1"/>
              <a:t>til</a:t>
            </a:r>
            <a:r>
              <a:rPr lang="en-US" dirty="0"/>
              <a:t> å </a:t>
            </a:r>
            <a:r>
              <a:rPr lang="en-US" dirty="0" err="1"/>
              <a:t>starte</a:t>
            </a:r>
            <a:r>
              <a:rPr lang="en-US" dirty="0"/>
              <a:t> </a:t>
            </a:r>
            <a:r>
              <a:rPr lang="en-US" dirty="0" err="1"/>
              <a:t>på</a:t>
            </a:r>
            <a:r>
              <a:rPr lang="en-US" dirty="0"/>
              <a:t> </a:t>
            </a:r>
            <a:r>
              <a:rPr lang="en-US" dirty="0" err="1"/>
              <a:t>UiO</a:t>
            </a:r>
            <a:endParaRPr lang="en-US" dirty="0">
              <a:cs typeface="Calibri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dirty="0" err="1"/>
              <a:t>Gjøre</a:t>
            </a:r>
            <a:r>
              <a:rPr lang="en-US" dirty="0"/>
              <a:t> det </a:t>
            </a:r>
            <a:r>
              <a:rPr lang="en-US" dirty="0" err="1"/>
              <a:t>enda</a:t>
            </a:r>
            <a:r>
              <a:rPr lang="en-US" dirty="0"/>
              <a:t> </a:t>
            </a:r>
            <a:r>
              <a:rPr lang="en-US" dirty="0" err="1"/>
              <a:t>enklere</a:t>
            </a:r>
            <a:r>
              <a:rPr lang="en-US" dirty="0"/>
              <a:t> å ha </a:t>
            </a:r>
            <a:r>
              <a:rPr lang="en-US" dirty="0" err="1"/>
              <a:t>oversikt</a:t>
            </a:r>
            <a:r>
              <a:rPr lang="en-US" dirty="0"/>
              <a:t> over </a:t>
            </a:r>
            <a:r>
              <a:rPr lang="en-US" dirty="0" err="1"/>
              <a:t>hva</a:t>
            </a:r>
            <a:r>
              <a:rPr lang="en-US" dirty="0"/>
              <a:t> </a:t>
            </a:r>
            <a:r>
              <a:rPr lang="en-US" dirty="0" err="1"/>
              <a:t>som</a:t>
            </a:r>
            <a:r>
              <a:rPr lang="en-US" dirty="0"/>
              <a:t> </a:t>
            </a:r>
            <a:r>
              <a:rPr lang="en-US" dirty="0" err="1"/>
              <a:t>skjer</a:t>
            </a:r>
            <a:r>
              <a:rPr lang="en-US" dirty="0"/>
              <a:t> i </a:t>
            </a:r>
            <a:r>
              <a:rPr lang="en-US" dirty="0" err="1"/>
              <a:t>studiestartuka</a:t>
            </a:r>
            <a:r>
              <a:rPr lang="en-US" dirty="0"/>
              <a:t> </a:t>
            </a:r>
            <a:endParaRPr lang="en-US" dirty="0">
              <a:cs typeface="Calibri"/>
            </a:endParaRPr>
          </a:p>
          <a:p>
            <a:endParaRPr lang="nb-NO" dirty="0"/>
          </a:p>
          <a:p>
            <a:endParaRPr lang="en-GB" sz="12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sz="12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udentenes</a:t>
            </a:r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ngangsvei</a:t>
            </a:r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l</a:t>
            </a:r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t </a:t>
            </a:r>
            <a:r>
              <a:rPr lang="en-GB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gitale</a:t>
            </a:r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æringsmiljøet</a:t>
            </a:r>
            <a:endParaRPr lang="en-GB" sz="12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o scenario:</a:t>
            </a: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ryss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or lang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nloggin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</a:p>
          <a:p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å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n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å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skjed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skjed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ntes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a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P, Kull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n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 Canvas, Program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nenettsid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Vis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ltr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å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n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å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meplan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dervisnin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ed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dervisningsressurs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ksamensinfo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a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P,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pgav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a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nv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s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kus-mulighet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å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pgav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ksamen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s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lender-velger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s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nn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å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meplanen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tell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. Mine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narveier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r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n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udenten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v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lg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vilk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ktøy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n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un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ønsk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t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lgjengeli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 Mine studier,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leksibilitet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lleg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n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n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kelt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udent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g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lt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gn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narvei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l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ttsid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jenest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uk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 sine studier</a:t>
            </a: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se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narveien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r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ldi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y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ukt</a:t>
            </a:r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. Mine programmer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ner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b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nk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l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ttsiden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l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n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rogram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udenter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r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åmeldt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</a:t>
            </a: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.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i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å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tte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lass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å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meplan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narveier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1567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Fordypning: Persisk/ tyrkisk A – E</a:t>
            </a:r>
          </a:p>
          <a:p>
            <a:endParaRPr lang="nb-NO"/>
          </a:p>
          <a:p>
            <a:r>
              <a:rPr lang="nb-NO"/>
              <a:t>Støttegruppe i områdekunnskap: Politikk og samfunn, historie, litteratur</a:t>
            </a:r>
          </a:p>
          <a:p>
            <a:r>
              <a:rPr lang="nb-NO"/>
              <a:t>Støttegruppe</a:t>
            </a:r>
            <a:r>
              <a:rPr lang="nb-NO" baseline="0"/>
              <a:t> i kultur-/samfunnsfag: Faglig bredde i graden, videre perspektiv, større kontekst, teori og metode som kan støtte opp om språk-</a:t>
            </a:r>
          </a:p>
          <a:p>
            <a:endParaRPr lang="nb-NO" baseline="0"/>
          </a:p>
          <a:p>
            <a:r>
              <a:rPr lang="nb-NO"/>
              <a:t>Bachelorgraden består av 180</a:t>
            </a:r>
            <a:r>
              <a:rPr lang="nb-NO" baseline="0"/>
              <a:t> studiepoeng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A200E6-D491-4884-9ADD-4B8EA0A7297D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433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EC8CB-0191-4BAE-BB2E-6E354562D8A4}" type="datetimeFigureOut">
              <a:rPr lang="nb-NO" smtClean="0"/>
              <a:t>14.08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ECB5EC-94F0-45DF-8C65-C5CA80621A6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13265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3" Type="http://schemas.openxmlformats.org/officeDocument/2006/relationships/diagramLayout" Target="../diagrams/layout8.xml"/><Relationship Id="rId7" Type="http://schemas.openxmlformats.org/officeDocument/2006/relationships/image" Target="../media/image62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13" Type="http://schemas.openxmlformats.org/officeDocument/2006/relationships/image" Target="../media/image69.png"/><Relationship Id="rId3" Type="http://schemas.openxmlformats.org/officeDocument/2006/relationships/hyperlink" Target="https://bibsys-almaprimo.hosted.exlibrisgroup.com/primo-explore/search?vid=UIO" TargetMode="External"/><Relationship Id="rId7" Type="http://schemas.openxmlformats.org/officeDocument/2006/relationships/image" Target="../media/image64.png"/><Relationship Id="rId12" Type="http://schemas.openxmlformats.org/officeDocument/2006/relationships/image" Target="../media/image68.svg"/><Relationship Id="rId2" Type="http://schemas.openxmlformats.org/officeDocument/2006/relationships/hyperlink" Target="https://www.uio.no/studier/eksamen/inspera/" TargetMode="Externa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utskrift.uio.no/" TargetMode="External"/><Relationship Id="rId11" Type="http://schemas.openxmlformats.org/officeDocument/2006/relationships/image" Target="../media/image67.png"/><Relationship Id="rId5" Type="http://schemas.openxmlformats.org/officeDocument/2006/relationships/hyperlink" Target="https://mobilprint.uio.no/login.cfm?dest=index.cfm&amp;" TargetMode="External"/><Relationship Id="rId10" Type="http://schemas.openxmlformats.org/officeDocument/2006/relationships/image" Target="../media/image66.svg"/><Relationship Id="rId4" Type="http://schemas.openxmlformats.org/officeDocument/2006/relationships/hyperlink" Target="https://www.uio.no/tjenester/it/lagring-samarbeid/ms365/" TargetMode="External"/><Relationship Id="rId9" Type="http://schemas.openxmlformats.org/officeDocument/2006/relationships/image" Target="../media/image45.png"/><Relationship Id="rId14" Type="http://schemas.openxmlformats.org/officeDocument/2006/relationships/image" Target="../media/image70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hyperlink" Target="https://www.hf.uio.no/studier/kontakt/hfstudieinfo.html" TargetMode="Externa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hyperlink" Target="https://www.uio.no/om/hms/si-fra/index.html" TargetMode="Externa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3.xml"/><Relationship Id="rId5" Type="http://schemas.openxmlformats.org/officeDocument/2006/relationships/diagramQuickStyle" Target="../diagrams/quickStyle13.xml"/><Relationship Id="rId4" Type="http://schemas.openxmlformats.org/officeDocument/2006/relationships/diagramLayout" Target="../diagrams/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hyperlink" Target="https://minestudier.no/nb/student?demo=2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5.png"/><Relationship Id="rId4" Type="http://schemas.openxmlformats.org/officeDocument/2006/relationships/hyperlink" Target="https://minestudier.uio.no/nb/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https://www.uio.no/tjenester/it/brukernavn-passord/2fa/hjelp/aktivere-2fa-qr.html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3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8321BED7-493A-4F03-2EB9-30EBA747A1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373AF986-C494-0BB7-D4CF-6987400FA2B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21E52DED-6CE4-2B11-21BE-180616EED9A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D0E53CFE-CDD2-F9AC-0E38-94D1B5B5C0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751F75CE-6C9D-BF39-7651-850EB9E70B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li kjent med studiehverdagen</a:t>
            </a:r>
            <a:endParaRPr lang="en-GB" dirty="0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4E006E85-3EE7-6FDB-8470-60A392AE575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nb-NO" dirty="0"/>
              <a:t>Ressurser og verktøy for studenter på bachelor/årsenhet i religionsvitenskap.</a:t>
            </a:r>
            <a:endParaRPr lang="en-GB" dirty="0"/>
          </a:p>
        </p:txBody>
      </p:sp>
      <p:sp>
        <p:nvSpPr>
          <p:cNvPr id="8" name="Undertittel 7">
            <a:extLst>
              <a:ext uri="{FF2B5EF4-FFF2-40B4-BE49-F238E27FC236}">
                <a16:creationId xmlns:a16="http://schemas.microsoft.com/office/drawing/2014/main" id="{09FD5667-9EAD-0E7E-A960-40A9272D02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3595" y="5199013"/>
            <a:ext cx="2221762" cy="269304"/>
          </a:xfrm>
        </p:spPr>
        <p:txBody>
          <a:bodyPr/>
          <a:lstStyle/>
          <a:p>
            <a:r>
              <a:rPr lang="nb-NO" dirty="0"/>
              <a:t>Simen Eriksen Hustoft</a:t>
            </a:r>
            <a:endParaRPr lang="en-GB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EA048F5B-BD7D-F721-530C-1264FAC255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63594" y="5468760"/>
            <a:ext cx="3771866" cy="269304"/>
          </a:xfrm>
        </p:spPr>
        <p:txBody>
          <a:bodyPr/>
          <a:lstStyle/>
          <a:p>
            <a:r>
              <a:rPr lang="nb-NO" dirty="0"/>
              <a:t>Studiekonsulent for religionsvitenskap</a:t>
            </a:r>
            <a:endParaRPr lang="en-GB" dirty="0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C619BD4B-2A73-E1F7-5B05-D717AFA1CE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63594" y="5735491"/>
            <a:ext cx="535403" cy="269304"/>
          </a:xfrm>
        </p:spPr>
        <p:txBody>
          <a:bodyPr/>
          <a:lstStyle/>
          <a:p>
            <a:r>
              <a:rPr lang="nb-NO" dirty="0"/>
              <a:t>IKOS</a:t>
            </a:r>
            <a:endParaRPr lang="en-GB" dirty="0"/>
          </a:p>
        </p:txBody>
      </p:sp>
      <p:sp>
        <p:nvSpPr>
          <p:cNvPr id="11" name="Plassholder for dato 10">
            <a:extLst>
              <a:ext uri="{FF2B5EF4-FFF2-40B4-BE49-F238E27FC236}">
                <a16:creationId xmlns:a16="http://schemas.microsoft.com/office/drawing/2014/main" id="{7C5CDEB9-B415-17BF-49CF-80AA3B697B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875240" cy="269304"/>
          </a:xfrm>
        </p:spPr>
        <p:txBody>
          <a:bodyPr/>
          <a:lstStyle/>
          <a:p>
            <a:r>
              <a:rPr lang="en-US" dirty="0">
                <a:highlight>
                  <a:srgbClr val="FFFFFF"/>
                </a:highlight>
              </a:rPr>
              <a:t>14.08.23</a:t>
            </a:r>
          </a:p>
        </p:txBody>
      </p:sp>
    </p:spTree>
    <p:extLst>
      <p:ext uri="{BB962C8B-B14F-4D97-AF65-F5344CB8AC3E}">
        <p14:creationId xmlns:p14="http://schemas.microsoft.com/office/powerpoint/2010/main" val="1857876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F7D2D07-3A1D-4562-C5E7-8DF4FAC44D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r>
              <a:rPr lang="nb-NO"/>
              <a:t>Det humanistiske fakul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5ACC536B-9449-0D39-C059-EF9018440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C01B6665-5632-DD27-807E-D0F7341F5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dirty="0"/>
              <a:t>Emnesider</a:t>
            </a:r>
            <a:endParaRPr lang="en-GB" dirty="0"/>
          </a:p>
        </p:txBody>
      </p:sp>
      <p:graphicFrame>
        <p:nvGraphicFramePr>
          <p:cNvPr id="21" name="Plassholder for innhold 5">
            <a:extLst>
              <a:ext uri="{FF2B5EF4-FFF2-40B4-BE49-F238E27FC236}">
                <a16:creationId xmlns:a16="http://schemas.microsoft.com/office/drawing/2014/main" id="{380CCC62-7D72-B6B4-C56F-2282A29EC3B7}"/>
              </a:ext>
            </a:extLst>
          </p:cNvPr>
          <p:cNvGraphicFramePr>
            <a:graphicFrameLocks noGrp="1"/>
          </p:cNvGraphicFramePr>
          <p:nvPr>
            <p:ph sz="quarter" idx="28"/>
            <p:extLst>
              <p:ext uri="{D42A27DB-BD31-4B8C-83A1-F6EECF244321}">
                <p14:modId xmlns:p14="http://schemas.microsoft.com/office/powerpoint/2010/main" val="3246214150"/>
              </p:ext>
            </p:extLst>
          </p:nvPr>
        </p:nvGraphicFramePr>
        <p:xfrm>
          <a:off x="218528" y="-55240"/>
          <a:ext cx="11471910" cy="4817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3" name="Diagram 22">
            <a:extLst>
              <a:ext uri="{FF2B5EF4-FFF2-40B4-BE49-F238E27FC236}">
                <a16:creationId xmlns:a16="http://schemas.microsoft.com/office/drawing/2014/main" id="{AB972DC2-B66B-A8B7-7010-5AF3E64979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3741404"/>
              </p:ext>
            </p:extLst>
          </p:nvPr>
        </p:nvGraphicFramePr>
        <p:xfrm>
          <a:off x="642837" y="3825093"/>
          <a:ext cx="10906323" cy="8506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4094846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670C149F-4DAA-F3CE-7308-07FADC742319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r>
              <a:rPr lang="nb-NO"/>
              <a:t>Det humanistiske fakul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9BDAD49D-9F24-8C58-807A-E93E8529327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82BB4C5C-A004-2CDB-E6D2-C772F3112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dirty="0" err="1"/>
              <a:t>StudentWeb</a:t>
            </a:r>
            <a:endParaRPr lang="en-GB" dirty="0"/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6ADC4BE0-DE46-F1AC-2CC5-85E719D1850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>
            <a:normAutofit/>
          </a:bodyPr>
          <a:lstStyle/>
          <a:p>
            <a:r>
              <a:rPr lang="nb-NO" b="1" dirty="0"/>
              <a:t>OBS: Frist for å oppmelding til emner torsdag 17. august kl. 23:59</a:t>
            </a:r>
            <a:endParaRPr lang="en-GB" b="1" dirty="0"/>
          </a:p>
        </p:txBody>
      </p:sp>
      <p:graphicFrame>
        <p:nvGraphicFramePr>
          <p:cNvPr id="8" name="Plassholder for innhold 5">
            <a:extLst>
              <a:ext uri="{FF2B5EF4-FFF2-40B4-BE49-F238E27FC236}">
                <a16:creationId xmlns:a16="http://schemas.microsoft.com/office/drawing/2014/main" id="{30AB1DCD-B3DE-61E8-7FE0-B347D3E3C8C6}"/>
              </a:ext>
            </a:extLst>
          </p:cNvPr>
          <p:cNvGraphicFramePr>
            <a:graphicFrameLocks noGrp="1"/>
          </p:cNvGraphicFramePr>
          <p:nvPr>
            <p:ph sz="half" idx="30"/>
            <p:extLst>
              <p:ext uri="{D42A27DB-BD31-4B8C-83A1-F6EECF244321}">
                <p14:modId xmlns:p14="http://schemas.microsoft.com/office/powerpoint/2010/main" val="727932560"/>
              </p:ext>
            </p:extLst>
          </p:nvPr>
        </p:nvGraphicFramePr>
        <p:xfrm>
          <a:off x="360044" y="1757498"/>
          <a:ext cx="11471910" cy="4301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952991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ACCA51E3-9BB5-89EC-AD5B-D1071711DD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669" y="68263"/>
            <a:ext cx="11814661" cy="6143625"/>
          </a:xfrm>
          <a:prstGeom prst="rect">
            <a:avLst/>
          </a:prstGeom>
          <a:noFill/>
        </p:spPr>
      </p:pic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1BCD150A-6507-5981-29D3-503CF828F96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Det humanistiske fakultet</a:t>
            </a:r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BF61EB2-E689-E858-6D77-62B5C072E90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7000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ooter Placeholder 1">
            <a:extLst>
              <a:ext uri="{FF2B5EF4-FFF2-40B4-BE49-F238E27FC236}">
                <a16:creationId xmlns:a16="http://schemas.microsoft.com/office/drawing/2014/main" id="{8D90CA1D-7355-A3F2-6549-2A8D03B3346A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nb-NO"/>
              <a:t>Det humanistiske fakultet</a:t>
            </a:r>
          </a:p>
        </p:txBody>
      </p:sp>
      <p:sp>
        <p:nvSpPr>
          <p:cNvPr id="21" name="Slide Number Placeholder 2">
            <a:extLst>
              <a:ext uri="{FF2B5EF4-FFF2-40B4-BE49-F238E27FC236}">
                <a16:creationId xmlns:a16="http://schemas.microsoft.com/office/drawing/2014/main" id="{5D1227A2-067A-1D95-02DE-09AFEA1DCF0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sp>
        <p:nvSpPr>
          <p:cNvPr id="12" name="Tittel 11">
            <a:extLst>
              <a:ext uri="{FF2B5EF4-FFF2-40B4-BE49-F238E27FC236}">
                <a16:creationId xmlns:a16="http://schemas.microsoft.com/office/drawing/2014/main" id="{1DFBE319-1FBE-4E27-6300-2F94CF179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n-NO" altLang="ja-JP" sz="3200"/>
              <a:t>Sjekkliste når du skal melde deg opp til emner i StudentWeb</a:t>
            </a:r>
            <a:endParaRPr lang="en-GB" sz="3200"/>
          </a:p>
        </p:txBody>
      </p:sp>
      <p:sp>
        <p:nvSpPr>
          <p:cNvPr id="43" name="Subtitle 4">
            <a:extLst>
              <a:ext uri="{FF2B5EF4-FFF2-40B4-BE49-F238E27FC236}">
                <a16:creationId xmlns:a16="http://schemas.microsoft.com/office/drawing/2014/main" id="{4977B4CB-5762-231D-B141-4D3D919B317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16" name="Plassholder for innhold 15">
            <a:extLst>
              <a:ext uri="{FF2B5EF4-FFF2-40B4-BE49-F238E27FC236}">
                <a16:creationId xmlns:a16="http://schemas.microsoft.com/office/drawing/2014/main" id="{E4CD4280-73AD-3EAE-CEE8-52DBA5EF9C67}"/>
              </a:ext>
            </a:extLst>
          </p:cNvPr>
          <p:cNvGraphicFramePr>
            <a:graphicFrameLocks noGrp="1"/>
          </p:cNvGraphicFramePr>
          <p:nvPr>
            <p:ph sz="half" idx="30"/>
            <p:extLst>
              <p:ext uri="{D42A27DB-BD31-4B8C-83A1-F6EECF244321}">
                <p14:modId xmlns:p14="http://schemas.microsoft.com/office/powerpoint/2010/main" val="934523656"/>
              </p:ext>
            </p:extLst>
          </p:nvPr>
        </p:nvGraphicFramePr>
        <p:xfrm>
          <a:off x="360044" y="1757498"/>
          <a:ext cx="11471910" cy="4301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820274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8F202291-8F64-6074-3297-E2809BA1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6485" y="399011"/>
            <a:ext cx="9850223" cy="5336771"/>
          </a:xfrm>
          <a:prstGeom prst="rect">
            <a:avLst/>
          </a:prstGeom>
          <a:noFill/>
        </p:spPr>
      </p:pic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C8947139-C937-70F5-081A-925001E9EA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7360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7EB0080-2C92-537A-8F4E-AA3174D86F0E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 lIns="0" tIns="0" rIns="0" bIns="0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nb-NO" kern="1200">
                <a:latin typeface="+mn-lt"/>
                <a:ea typeface="+mn-ea"/>
                <a:cs typeface="+mn-cs"/>
              </a:rPr>
              <a:t>Det humanistiske fakul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A353FB9C-0C97-BC49-3F78-2BB05278C6D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5</a:t>
            </a:fld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84D58D60-0DCE-E5D6-A243-2C35A52033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nb-NO" kern="1200">
                <a:latin typeface="+mj-lt"/>
                <a:ea typeface="+mj-ea"/>
                <a:cs typeface="+mj-cs"/>
              </a:rPr>
              <a:t>Canvas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D2B785B-5B0C-7A8E-D767-A68B16D892DC}"/>
              </a:ext>
            </a:extLst>
          </p:cNvPr>
          <p:cNvSpPr txBox="1"/>
          <p:nvPr/>
        </p:nvSpPr>
        <p:spPr>
          <a:xfrm>
            <a:off x="360044" y="1082726"/>
            <a:ext cx="11471910" cy="49474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defTabSz="914446">
              <a:spcBef>
                <a:spcPts val="1150"/>
              </a:spcBef>
            </a:pPr>
            <a:r>
              <a:rPr lang="nb-NO" sz="1800" dirty="0"/>
              <a:t>Finnes som app og nettside</a:t>
            </a:r>
            <a:endParaRPr lang="en-GB" sz="1800" dirty="0"/>
          </a:p>
        </p:txBody>
      </p:sp>
      <p:graphicFrame>
        <p:nvGraphicFramePr>
          <p:cNvPr id="7" name="Plassholder for tekst 4">
            <a:extLst>
              <a:ext uri="{FF2B5EF4-FFF2-40B4-BE49-F238E27FC236}">
                <a16:creationId xmlns:a16="http://schemas.microsoft.com/office/drawing/2014/main" id="{0B574645-9560-3384-6D2E-8AF00621F4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8845706"/>
              </p:ext>
            </p:extLst>
          </p:nvPr>
        </p:nvGraphicFramePr>
        <p:xfrm>
          <a:off x="360044" y="1757498"/>
          <a:ext cx="11471910" cy="4301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981365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E2830EF2-1119-249E-96ED-FDD5AFC6B85C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nb-NO"/>
              <a:t>Det humanistiske fakul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6115E02A-C024-61C5-EFEA-49CA7EDB9E8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BEF48037-991D-4B2B-9DC7-50CC260276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ook </a:t>
            </a:r>
          </a:p>
        </p:txBody>
      </p:sp>
      <p:graphicFrame>
        <p:nvGraphicFramePr>
          <p:cNvPr id="16" name="Plassholder for innhold 4">
            <a:extLst>
              <a:ext uri="{FF2B5EF4-FFF2-40B4-BE49-F238E27FC236}">
                <a16:creationId xmlns:a16="http://schemas.microsoft.com/office/drawing/2014/main" id="{C6238BBD-4403-495F-F81E-C4242D946401}"/>
              </a:ext>
            </a:extLst>
          </p:cNvPr>
          <p:cNvGraphicFramePr>
            <a:graphicFrameLocks noGrp="1"/>
          </p:cNvGraphicFramePr>
          <p:nvPr>
            <p:ph sz="half" idx="29"/>
            <p:extLst>
              <p:ext uri="{D42A27DB-BD31-4B8C-83A1-F6EECF244321}">
                <p14:modId xmlns:p14="http://schemas.microsoft.com/office/powerpoint/2010/main" val="77909338"/>
              </p:ext>
            </p:extLst>
          </p:nvPr>
        </p:nvGraphicFramePr>
        <p:xfrm>
          <a:off x="360363" y="1072445"/>
          <a:ext cx="5489575" cy="4985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5" name="Plassholder for innhold 24" descr="Konvolutt med heldekkende fyll">
            <a:extLst>
              <a:ext uri="{FF2B5EF4-FFF2-40B4-BE49-F238E27FC236}">
                <a16:creationId xmlns:a16="http://schemas.microsoft.com/office/drawing/2014/main" id="{36C22CB6-0CDF-6A4F-D98E-253A3EDB8F74}"/>
              </a:ext>
            </a:extLst>
          </p:cNvPr>
          <p:cNvPicPr>
            <a:picLocks noGrp="1" noChangeAspect="1"/>
          </p:cNvPicPr>
          <p:nvPr>
            <p:ph sz="half" idx="3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79821" y="1072442"/>
            <a:ext cx="5090400" cy="5370474"/>
          </a:xfrm>
        </p:spPr>
      </p:pic>
    </p:spTree>
    <p:extLst>
      <p:ext uri="{BB962C8B-B14F-4D97-AF65-F5344CB8AC3E}">
        <p14:creationId xmlns:p14="http://schemas.microsoft.com/office/powerpoint/2010/main" val="40658748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563D3388-C75E-55C7-9AED-C72478E460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Det humanistiske fakultet</a:t>
            </a:r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80C60EB-88FD-5ACB-33C5-8649C89C4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CAEA9530-63D9-727E-320C-5A4CF801B0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ndre snarveier i mine studier</a:t>
            </a:r>
            <a:br>
              <a:rPr lang="nb-NO" dirty="0"/>
            </a:br>
            <a:endParaRPr lang="en-GB" dirty="0"/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FC37A256-F47F-5255-503D-4D5698EE7DB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nb-NO" dirty="0"/>
              <a:t>Inspera</a:t>
            </a:r>
          </a:p>
          <a:p>
            <a:endParaRPr lang="en-GB" dirty="0"/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486001E9-6328-53FB-5901-C3C5B11B0D82}"/>
              </a:ext>
            </a:extLst>
          </p:cNvPr>
          <p:cNvSpPr>
            <a:spLocks noGrp="1"/>
          </p:cNvSpPr>
          <p:nvPr>
            <p:ph sz="half" idx="29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nb-NO" sz="1400" dirty="0"/>
              <a:t>Programmet som brukes for innlevering av eksam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400" dirty="0"/>
              <a:t>Logg på med UiO-brukernavn og passord + </a:t>
            </a:r>
            <a:r>
              <a:rPr lang="nb-NO" sz="1400" dirty="0" err="1"/>
              <a:t>Authenticator</a:t>
            </a:r>
            <a:endParaRPr lang="nb-NO" sz="1400" dirty="0"/>
          </a:p>
          <a:p>
            <a:pPr>
              <a:buFont typeface="Arial" panose="020B0604020202020204" pitchFamily="34" charset="0"/>
              <a:buChar char="•"/>
            </a:pPr>
            <a:r>
              <a:rPr lang="nb-NO" sz="1400" dirty="0"/>
              <a:t>Du finner mer informasjon og veiledning til </a:t>
            </a:r>
            <a:r>
              <a:rPr lang="nb-NO" sz="1400" dirty="0" err="1"/>
              <a:t>inspera</a:t>
            </a:r>
            <a:r>
              <a:rPr lang="nb-NO" sz="1400" dirty="0"/>
              <a:t> her: </a:t>
            </a:r>
            <a:r>
              <a:rPr lang="nn-NO" sz="1400" dirty="0">
                <a:hlinkClick r:id="rId2"/>
              </a:rPr>
              <a:t>Skoleeksamen i Inspera - Universitetet i Oslo (uio.no)</a:t>
            </a:r>
            <a:endParaRPr lang="nb-NO" sz="1400" dirty="0"/>
          </a:p>
          <a:p>
            <a:pPr>
              <a:buFont typeface="Arial" panose="020B0604020202020204" pitchFamily="34" charset="0"/>
              <a:buChar char="•"/>
            </a:pPr>
            <a:endParaRPr lang="en-GB" sz="1600" dirty="0"/>
          </a:p>
        </p:txBody>
      </p:sp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E72D7E1C-1FEE-72D7-C57F-5B065674495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nb-NO" dirty="0"/>
              <a:t>Bibliotek – </a:t>
            </a:r>
            <a:r>
              <a:rPr lang="nb-NO" dirty="0" err="1"/>
              <a:t>Oria</a:t>
            </a:r>
            <a:r>
              <a:rPr lang="nb-NO" dirty="0"/>
              <a:t> – </a:t>
            </a:r>
            <a:r>
              <a:rPr lang="nb-NO" dirty="0" err="1"/>
              <a:t>Leganto</a:t>
            </a:r>
            <a:r>
              <a:rPr lang="nb-NO" dirty="0"/>
              <a:t> </a:t>
            </a:r>
          </a:p>
          <a:p>
            <a:endParaRPr lang="en-GB" dirty="0"/>
          </a:p>
        </p:txBody>
      </p:sp>
      <p:sp>
        <p:nvSpPr>
          <p:cNvPr id="10" name="Plassholder for innhold 9">
            <a:extLst>
              <a:ext uri="{FF2B5EF4-FFF2-40B4-BE49-F238E27FC236}">
                <a16:creationId xmlns:a16="http://schemas.microsoft.com/office/drawing/2014/main" id="{4B443D87-F413-8E96-07E0-B44E1981F04C}"/>
              </a:ext>
            </a:extLst>
          </p:cNvPr>
          <p:cNvSpPr>
            <a:spLocks noGrp="1"/>
          </p:cNvSpPr>
          <p:nvPr>
            <p:ph sz="half" idx="27"/>
          </p:nvPr>
        </p:nvSpPr>
        <p:spPr/>
        <p:txBody>
          <a:bodyPr/>
          <a:lstStyle/>
          <a:p>
            <a:pPr marL="345139" indent="-285750">
              <a:buFont typeface="Arial" panose="020B0604020202020204" pitchFamily="34" charset="0"/>
              <a:buChar char="•"/>
            </a:pPr>
            <a:r>
              <a:rPr lang="nb-NO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ria</a:t>
            </a: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b-NO" sz="1400" dirty="0">
                <a:effectLst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brukes for å finne </a:t>
            </a: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skningslitteratur. Logg inn på siden, for tilgang til alt innhold. </a:t>
            </a:r>
            <a:r>
              <a:rPr lang="en-GB" sz="1400" dirty="0">
                <a:hlinkClick r:id="rId3"/>
              </a:rPr>
              <a:t>oria.no (exlibrisgroup.com)</a:t>
            </a:r>
            <a:endParaRPr lang="en-GB" sz="1400" dirty="0"/>
          </a:p>
          <a:p>
            <a:pPr marL="345139" indent="-285750">
              <a:buFont typeface="Arial" panose="020B0604020202020204" pitchFamily="34" charset="0"/>
              <a:buChar char="•"/>
            </a:pP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a i bruk bibliotekene og Akademisk skrivesenter på Universitetsbiblioteket!</a:t>
            </a:r>
            <a:endParaRPr lang="nb-NO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5139" indent="-285750">
              <a:buFont typeface="Arial" panose="020B0604020202020204" pitchFamily="34" charset="0"/>
              <a:buChar char="•"/>
            </a:pPr>
            <a:r>
              <a:rPr lang="nb-NO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eganto</a:t>
            </a: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er et program for pensumlister</a:t>
            </a:r>
          </a:p>
          <a:p>
            <a:pPr marL="345139" indent="-285750">
              <a:buFont typeface="Arial" panose="020B0604020202020204" pitchFamily="34" charset="0"/>
              <a:buChar char="•"/>
            </a:pP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enket til </a:t>
            </a:r>
            <a:r>
              <a:rPr lang="nb-NO" sz="1400" dirty="0" err="1">
                <a:ea typeface="Calibri" panose="020F0502020204030204" pitchFamily="34" charset="0"/>
                <a:cs typeface="Times New Roman" panose="02020603050405020304" pitchFamily="18" charset="0"/>
              </a:rPr>
              <a:t>Oria</a:t>
            </a:r>
            <a:r>
              <a:rPr lang="nb-NO" sz="1400" dirty="0">
                <a:ea typeface="Calibri" panose="020F0502020204030204" pitchFamily="34" charset="0"/>
                <a:cs typeface="Times New Roman" panose="02020603050405020304" pitchFamily="18" charset="0"/>
              </a:rPr>
              <a:t> og viser </a:t>
            </a: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edige bøker og lenker til pensum på nett.</a:t>
            </a:r>
            <a:endParaRPr lang="en-GB" sz="1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GB" sz="1400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39406B55-A357-2151-D811-0FCA34025D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nb-NO" dirty="0"/>
              <a:t>Programkiosk - Office 365</a:t>
            </a:r>
          </a:p>
          <a:p>
            <a:endParaRPr lang="en-GB" dirty="0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F3C85A8E-2966-BD41-68C1-BA9CBD52142D}"/>
              </a:ext>
            </a:extLst>
          </p:cNvPr>
          <p:cNvSpPr>
            <a:spLocks noGrp="1"/>
          </p:cNvSpPr>
          <p:nvPr>
            <p:ph sz="half" idx="25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ilgang til Office-pakke, både til nedlastning og digitalt. Dette trenger dere altså ikke betale for selv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lle dokumenter lagres på din bruker, og du kan finne det ved å logge inn</a:t>
            </a:r>
            <a:r>
              <a:rPr lang="nb-NO" sz="1400" dirty="0">
                <a:ea typeface="Calibri" panose="020F0502020204030204" pitchFamily="34" charset="0"/>
                <a:cs typeface="Times New Roman" panose="02020603050405020304" pitchFamily="18" charset="0"/>
              </a:rPr>
              <a:t> på </a:t>
            </a:r>
            <a:r>
              <a:rPr lang="nn-NO" sz="1400" dirty="0">
                <a:hlinkClick r:id="rId4"/>
              </a:rPr>
              <a:t>Microsoft 365 (MS 365, </a:t>
            </a:r>
            <a:r>
              <a:rPr lang="nn-NO" sz="1400" dirty="0" err="1">
                <a:hlinkClick r:id="rId4"/>
              </a:rPr>
              <a:t>tidligere</a:t>
            </a:r>
            <a:r>
              <a:rPr lang="nn-NO" sz="1400" dirty="0">
                <a:hlinkClick r:id="rId4"/>
              </a:rPr>
              <a:t> Office 365) på UiO - Universitetet i Oslo</a:t>
            </a: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GB" sz="1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400" dirty="0"/>
              <a:t>Kan </a:t>
            </a:r>
            <a:r>
              <a:rPr lang="en-GB" sz="1400" dirty="0" err="1"/>
              <a:t>også</a:t>
            </a:r>
            <a:r>
              <a:rPr lang="en-GB" sz="1400" dirty="0"/>
              <a:t> </a:t>
            </a:r>
            <a:r>
              <a:rPr lang="en-GB" sz="1400" dirty="0" err="1"/>
              <a:t>brukes</a:t>
            </a:r>
            <a:r>
              <a:rPr lang="en-GB" sz="1400" dirty="0"/>
              <a:t> </a:t>
            </a:r>
            <a:r>
              <a:rPr lang="en-GB" sz="1400" dirty="0" err="1"/>
              <a:t>som</a:t>
            </a:r>
            <a:r>
              <a:rPr lang="en-GB" sz="1400" dirty="0"/>
              <a:t> </a:t>
            </a:r>
            <a:r>
              <a:rPr lang="en-GB" sz="1400" dirty="0" err="1"/>
              <a:t>samarbeidsdokumenter</a:t>
            </a:r>
            <a:endParaRPr lang="en-GB" sz="1400" dirty="0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CEE081C8-F63C-A759-AE00-3081464F3C0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nb-NO" dirty="0"/>
              <a:t>Utskrift</a:t>
            </a:r>
          </a:p>
          <a:p>
            <a:endParaRPr lang="en-GB" dirty="0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AE2EF857-789F-C6BE-4AC8-7C352F54F351}"/>
              </a:ext>
            </a:extLst>
          </p:cNvPr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nb-NO" dirty="0"/>
          </a:p>
          <a:p>
            <a:endParaRPr lang="nb-NO" dirty="0"/>
          </a:p>
          <a:p>
            <a:endParaRPr lang="en-GB" dirty="0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CF5E7FF1-337B-E90A-0A3F-8D8A4142C5F5}"/>
              </a:ext>
            </a:extLst>
          </p:cNvPr>
          <p:cNvSpPr txBox="1"/>
          <p:nvPr/>
        </p:nvSpPr>
        <p:spPr>
          <a:xfrm>
            <a:off x="9044412" y="2393437"/>
            <a:ext cx="2821424" cy="34971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07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intere </a:t>
            </a:r>
            <a:r>
              <a:rPr lang="nb-NO" sz="1400" dirty="0">
                <a:ea typeface="Calibri" panose="020F0502020204030204" pitchFamily="34" charset="0"/>
                <a:cs typeface="Times New Roman" panose="02020603050405020304" pitchFamily="18" charset="0"/>
              </a:rPr>
              <a:t>f</a:t>
            </a: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nes på alle bibliotekene, skriv ut via student-PCer . Bruk studentkortet eller innlogging på skjermen for å skrive ut.</a:t>
            </a:r>
          </a:p>
          <a:p>
            <a:pPr marL="285750" lvl="0" indent="-285750">
              <a:lnSpc>
                <a:spcPct val="107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kriv ut fra privat PC via </a:t>
            </a:r>
            <a:r>
              <a:rPr lang="en-GB" sz="1400" dirty="0" err="1">
                <a:hlinkClick r:id="rId5"/>
              </a:rPr>
              <a:t>EveryonePrint</a:t>
            </a:r>
            <a:r>
              <a:rPr lang="en-GB" sz="1400" dirty="0">
                <a:hlinkClick r:id="rId5"/>
              </a:rPr>
              <a:t> - </a:t>
            </a:r>
            <a:r>
              <a:rPr lang="en-GB" sz="1400" dirty="0" err="1">
                <a:hlinkClick r:id="rId5"/>
              </a:rPr>
              <a:t>Logg</a:t>
            </a:r>
            <a:r>
              <a:rPr lang="en-GB" sz="1400" dirty="0">
                <a:hlinkClick r:id="rId5"/>
              </a:rPr>
              <a:t> inn (uio.no) </a:t>
            </a:r>
            <a:endParaRPr lang="en-GB" sz="1400" dirty="0"/>
          </a:p>
          <a:p>
            <a:pPr marL="285750" lvl="0" indent="-285750">
              <a:lnSpc>
                <a:spcPct val="107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yll på </a:t>
            </a:r>
            <a:r>
              <a:rPr lang="nb-NO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tskiftskvoten</a:t>
            </a: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å </a:t>
            </a:r>
            <a:r>
              <a:rPr lang="en-US" sz="1400" dirty="0">
                <a:hlinkClick r:id="rId6"/>
              </a:rPr>
              <a:t>401 - Unauthorized: Access is denied due to invalid credentials. (uio.no)</a:t>
            </a:r>
            <a:r>
              <a:rPr lang="nb-NO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GB" sz="1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1100"/>
              </a:spcBef>
              <a:buFont typeface="Arial" panose="020B0604020202020204" pitchFamily="34" charset="0"/>
              <a:buChar char="•"/>
            </a:pPr>
            <a:endParaRPr lang="en-GB" sz="1400" dirty="0"/>
          </a:p>
        </p:txBody>
      </p:sp>
      <p:pic>
        <p:nvPicPr>
          <p:cNvPr id="16" name="Grafikk 15" descr="Bøker på hylle med heldekkende fyll">
            <a:extLst>
              <a:ext uri="{FF2B5EF4-FFF2-40B4-BE49-F238E27FC236}">
                <a16:creationId xmlns:a16="http://schemas.microsoft.com/office/drawing/2014/main" id="{2B2E1D74-3E72-3481-7875-3CD55AAB8F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30740" y="872901"/>
            <a:ext cx="703401" cy="703401"/>
          </a:xfrm>
          <a:prstGeom prst="rect">
            <a:avLst/>
          </a:prstGeom>
        </p:spPr>
      </p:pic>
      <p:pic>
        <p:nvPicPr>
          <p:cNvPr id="18" name="Grafikk 17" descr="Diplomrull med heldekkende fyll">
            <a:extLst>
              <a:ext uri="{FF2B5EF4-FFF2-40B4-BE49-F238E27FC236}">
                <a16:creationId xmlns:a16="http://schemas.microsoft.com/office/drawing/2014/main" id="{D920B247-C9BA-40AB-43D3-D367C9FB896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9240" y="929153"/>
            <a:ext cx="703401" cy="703401"/>
          </a:xfrm>
          <a:prstGeom prst="rect">
            <a:avLst/>
          </a:prstGeom>
        </p:spPr>
      </p:pic>
      <p:pic>
        <p:nvPicPr>
          <p:cNvPr id="20" name="Grafikk 19" descr="Skriver med heldekkende fyll">
            <a:extLst>
              <a:ext uri="{FF2B5EF4-FFF2-40B4-BE49-F238E27FC236}">
                <a16:creationId xmlns:a16="http://schemas.microsoft.com/office/drawing/2014/main" id="{73A0D72D-0CF5-32ED-2B08-0EA55495AF6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108117" y="874074"/>
            <a:ext cx="703401" cy="703401"/>
          </a:xfrm>
          <a:prstGeom prst="rect">
            <a:avLst/>
          </a:prstGeom>
        </p:spPr>
      </p:pic>
      <p:pic>
        <p:nvPicPr>
          <p:cNvPr id="22" name="Grafikk 21" descr="Mappesøk med heldekkende fyll">
            <a:extLst>
              <a:ext uri="{FF2B5EF4-FFF2-40B4-BE49-F238E27FC236}">
                <a16:creationId xmlns:a16="http://schemas.microsoft.com/office/drawing/2014/main" id="{C40DD8EF-F18E-53CC-2EA6-F18E5FDC873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164354" y="929153"/>
            <a:ext cx="703401" cy="703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2581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CF9914F5-0FCF-3F37-F767-CA0EC50EDE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2" r="3932"/>
          <a:stretch/>
        </p:blipFill>
        <p:spPr>
          <a:xfrm>
            <a:off x="-15129" y="87549"/>
            <a:ext cx="11785598" cy="6629400"/>
          </a:xfrm>
          <a:prstGeom prst="rect">
            <a:avLst/>
          </a:prstGeom>
          <a:noFill/>
        </p:spPr>
      </p:pic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CEA5E54D-09DE-CF4B-40EE-053ECF2B70A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3729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DBF5F50-6DA1-A696-0BD5-B6A95C8F68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nb-NO"/>
              <a:t>Det humanistiske fakul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C2103644-61BB-052B-4AD3-0390B049D6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A43C8CE5-D878-986A-FB05-37E1754C9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dirty="0"/>
              <a:t>Jobbklar</a:t>
            </a:r>
            <a:endParaRPr lang="en-GB" dirty="0"/>
          </a:p>
        </p:txBody>
      </p:sp>
      <p:graphicFrame>
        <p:nvGraphicFramePr>
          <p:cNvPr id="14" name="Plassholder for innhold 4">
            <a:extLst>
              <a:ext uri="{FF2B5EF4-FFF2-40B4-BE49-F238E27FC236}">
                <a16:creationId xmlns:a16="http://schemas.microsoft.com/office/drawing/2014/main" id="{A1B62CB1-52C0-F2F0-4AC0-82D2C1FC7E01}"/>
              </a:ext>
            </a:extLst>
          </p:cNvPr>
          <p:cNvGraphicFramePr>
            <a:graphicFrameLocks noGrp="1"/>
          </p:cNvGraphicFramePr>
          <p:nvPr>
            <p:ph sz="quarter" idx="28"/>
            <p:extLst>
              <p:ext uri="{D42A27DB-BD31-4B8C-83A1-F6EECF244321}">
                <p14:modId xmlns:p14="http://schemas.microsoft.com/office/powerpoint/2010/main" val="4187136276"/>
              </p:ext>
            </p:extLst>
          </p:nvPr>
        </p:nvGraphicFramePr>
        <p:xfrm>
          <a:off x="360044" y="1082726"/>
          <a:ext cx="11471910" cy="4817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11932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38DA3ECA-90F1-4DA5-8863-8456344DE8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solidFill>
            <a:srgbClr val="FDA01B"/>
          </a:solidFill>
        </p:spPr>
      </p:sp>
      <p:sp>
        <p:nvSpPr>
          <p:cNvPr id="14" name="Tittel 13">
            <a:extLst>
              <a:ext uri="{FF2B5EF4-FFF2-40B4-BE49-F238E27FC236}">
                <a16:creationId xmlns:a16="http://schemas.microsoft.com/office/drawing/2014/main" id="{02ECE55E-2550-4BE6-B142-BB78216C4CC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sz="3200" dirty="0">
                <a:solidFill>
                  <a:srgbClr val="000000"/>
                </a:solidFill>
              </a:rPr>
              <a:t>Hvor finner jeg informasjon om undervisningen?</a:t>
            </a:r>
            <a:br>
              <a:rPr lang="nb-NO" sz="3200" dirty="0">
                <a:solidFill>
                  <a:srgbClr val="000000"/>
                </a:solidFill>
              </a:rPr>
            </a:br>
            <a:r>
              <a:rPr lang="nb-NO" sz="3200" dirty="0">
                <a:solidFill>
                  <a:srgbClr val="000000"/>
                </a:solidFill>
              </a:rPr>
              <a:t>Hvordan kommuniserer jeg med studenter og ansatte? </a:t>
            </a:r>
            <a:br>
              <a:rPr lang="nb-NO" sz="3200" dirty="0">
                <a:solidFill>
                  <a:srgbClr val="000000"/>
                </a:solidFill>
              </a:rPr>
            </a:br>
            <a:r>
              <a:rPr lang="nb-NO" sz="3200" dirty="0">
                <a:solidFill>
                  <a:srgbClr val="000000"/>
                </a:solidFill>
              </a:rPr>
              <a:t>Hvor finner jeg pensum og faglitteratur?</a:t>
            </a:r>
            <a:br>
              <a:rPr lang="nb-NO" sz="3200" dirty="0">
                <a:solidFill>
                  <a:srgbClr val="000000"/>
                </a:solidFill>
              </a:rPr>
            </a:br>
            <a:r>
              <a:rPr lang="nb-NO" sz="3200" dirty="0">
                <a:solidFill>
                  <a:srgbClr val="000000"/>
                </a:solidFill>
              </a:rPr>
              <a:t>Hvilke tekniske hjelpemidler finnes?</a:t>
            </a:r>
            <a:br>
              <a:rPr lang="nb-NO" dirty="0">
                <a:solidFill>
                  <a:srgbClr val="000000"/>
                </a:solidFill>
              </a:rPr>
            </a:b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8F5E733-9F94-4525-A8D5-94DFB1EEBA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Plassholder for lysbildenummer 10">
            <a:extLst>
              <a:ext uri="{FF2B5EF4-FFF2-40B4-BE49-F238E27FC236}">
                <a16:creationId xmlns:a16="http://schemas.microsoft.com/office/drawing/2014/main" id="{7DA1FB49-AE95-4D18-BC62-0522E1C839A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91925" y="6264275"/>
            <a:ext cx="600075" cy="365125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 dirty="0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1121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28F1639A-B281-A5DF-F933-21A833EB549A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r>
              <a:rPr lang="nb-NO"/>
              <a:t>Det humanistiske fakul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43DB1B94-4F0D-B827-E36D-1A8BE513D09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71ADAA1A-F47F-CF43-5D3E-00C871158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dirty="0"/>
              <a:t>Hvem kontakter jeg?</a:t>
            </a:r>
            <a:endParaRPr lang="en-GB" dirty="0"/>
          </a:p>
        </p:txBody>
      </p:sp>
      <p:sp>
        <p:nvSpPr>
          <p:cNvPr id="18" name="Subtitle 4">
            <a:extLst>
              <a:ext uri="{FF2B5EF4-FFF2-40B4-BE49-F238E27FC236}">
                <a16:creationId xmlns:a16="http://schemas.microsoft.com/office/drawing/2014/main" id="{55B6E0BC-CD2D-A9A3-D53B-DE646C860A9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/>
          <a:lstStyle/>
          <a:p>
            <a:r>
              <a:rPr lang="nb-NO" sz="1800" dirty="0"/>
              <a:t>Er du i tvil om hvem du skal kontakte? Send epost til </a:t>
            </a:r>
            <a:r>
              <a:rPr lang="en-GB" dirty="0">
                <a:hlinkClick r:id="rId2"/>
              </a:rPr>
              <a:t>HF-</a:t>
            </a:r>
            <a:r>
              <a:rPr lang="en-GB" dirty="0" err="1">
                <a:hlinkClick r:id="rId2"/>
              </a:rPr>
              <a:t>studieinfo</a:t>
            </a:r>
            <a:r>
              <a:rPr lang="en-GB" dirty="0">
                <a:hlinkClick r:id="rId2"/>
              </a:rPr>
              <a:t> - Det </a:t>
            </a:r>
            <a:r>
              <a:rPr lang="en-GB" dirty="0" err="1">
                <a:hlinkClick r:id="rId2"/>
              </a:rPr>
              <a:t>humanistiske</a:t>
            </a:r>
            <a:r>
              <a:rPr lang="en-GB" dirty="0">
                <a:hlinkClick r:id="rId2"/>
              </a:rPr>
              <a:t> </a:t>
            </a:r>
            <a:r>
              <a:rPr lang="en-GB" dirty="0" err="1">
                <a:hlinkClick r:id="rId2"/>
              </a:rPr>
              <a:t>fakultet</a:t>
            </a:r>
            <a:r>
              <a:rPr lang="en-GB" dirty="0">
                <a:hlinkClick r:id="rId2"/>
              </a:rPr>
              <a:t> (uio.no)</a:t>
            </a:r>
            <a:r>
              <a:rPr lang="en-GB" dirty="0"/>
              <a:t> </a:t>
            </a:r>
            <a:r>
              <a:rPr lang="nb-NO" sz="1800" dirty="0"/>
              <a:t>så hjelper de deg å finne frem til riktig person. </a:t>
            </a:r>
            <a:endParaRPr lang="en-US" sz="1800" dirty="0"/>
          </a:p>
          <a:p>
            <a:endParaRPr lang="en-US" dirty="0"/>
          </a:p>
        </p:txBody>
      </p:sp>
      <p:graphicFrame>
        <p:nvGraphicFramePr>
          <p:cNvPr id="7" name="Plassholder for innhold 4">
            <a:extLst>
              <a:ext uri="{FF2B5EF4-FFF2-40B4-BE49-F238E27FC236}">
                <a16:creationId xmlns:a16="http://schemas.microsoft.com/office/drawing/2014/main" id="{ABE0529D-648A-D008-F03D-F0B4D0276E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0908130"/>
              </p:ext>
            </p:extLst>
          </p:nvPr>
        </p:nvGraphicFramePr>
        <p:xfrm>
          <a:off x="360044" y="1757498"/>
          <a:ext cx="11471910" cy="4301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81636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9" name="Footer Placeholder 1">
            <a:extLst>
              <a:ext uri="{FF2B5EF4-FFF2-40B4-BE49-F238E27FC236}">
                <a16:creationId xmlns:a16="http://schemas.microsoft.com/office/drawing/2014/main" id="{B3195A28-265E-7EC0-6EF3-DAD5166938B6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r>
              <a:rPr lang="nb-NO"/>
              <a:t>Det humanistiske fakul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59051E59-4E57-3735-91F3-C1CDE66829F3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1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2EC98BF3-B345-43D0-8A26-65B903F62A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dirty="0"/>
              <a:t>Ønsker du å ta kontakt anonymt?</a:t>
            </a:r>
            <a:endParaRPr lang="en-GB" dirty="0"/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D1AFA1FC-B8A5-1CEC-C09D-23A20283795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11240716" cy="494749"/>
          </a:xfrm>
        </p:spPr>
        <p:txBody>
          <a:bodyPr anchor="t">
            <a:normAutofit/>
          </a:bodyPr>
          <a:lstStyle/>
          <a:p>
            <a:r>
              <a:rPr lang="nn-NO" sz="2800" dirty="0">
                <a:hlinkClick r:id="rId2"/>
              </a:rPr>
              <a:t>Si </a:t>
            </a:r>
            <a:r>
              <a:rPr lang="nn-NO" sz="2800" dirty="0" err="1">
                <a:hlinkClick r:id="rId2"/>
              </a:rPr>
              <a:t>fra</a:t>
            </a:r>
            <a:r>
              <a:rPr lang="nn-NO" sz="2800" dirty="0">
                <a:hlinkClick r:id="rId2"/>
              </a:rPr>
              <a:t>! - Universitetet i Oslo (uio.</a:t>
            </a:r>
            <a:r>
              <a:rPr lang="nn-NO" sz="3200" dirty="0">
                <a:hlinkClick r:id="rId2"/>
              </a:rPr>
              <a:t>no</a:t>
            </a:r>
            <a:r>
              <a:rPr lang="nn-NO" sz="2800" dirty="0">
                <a:hlinkClick r:id="rId2"/>
              </a:rPr>
              <a:t>)</a:t>
            </a:r>
            <a:endParaRPr lang="en-GB" sz="2800" dirty="0"/>
          </a:p>
        </p:txBody>
      </p:sp>
      <p:graphicFrame>
        <p:nvGraphicFramePr>
          <p:cNvPr id="1035" name="Plassholder for innhold 5">
            <a:extLst>
              <a:ext uri="{FF2B5EF4-FFF2-40B4-BE49-F238E27FC236}">
                <a16:creationId xmlns:a16="http://schemas.microsoft.com/office/drawing/2014/main" id="{58AC7788-CF1D-004E-19BC-C910A2B99895}"/>
              </a:ext>
            </a:extLst>
          </p:cNvPr>
          <p:cNvGraphicFramePr>
            <a:graphicFrameLocks noGrp="1"/>
          </p:cNvGraphicFramePr>
          <p:nvPr>
            <p:ph sz="half" idx="29"/>
            <p:extLst>
              <p:ext uri="{D42A27DB-BD31-4B8C-83A1-F6EECF244321}">
                <p14:modId xmlns:p14="http://schemas.microsoft.com/office/powerpoint/2010/main" val="440162079"/>
              </p:ext>
            </p:extLst>
          </p:nvPr>
        </p:nvGraphicFramePr>
        <p:xfrm>
          <a:off x="360045" y="1577475"/>
          <a:ext cx="6117873" cy="45809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1" name="Picture 2" descr="Bildet kan inneholde: utklipp.">
            <a:extLst>
              <a:ext uri="{FF2B5EF4-FFF2-40B4-BE49-F238E27FC236}">
                <a16:creationId xmlns:a16="http://schemas.microsoft.com/office/drawing/2014/main" id="{6B7FD4C9-B902-C2FC-A3DA-F5FF6208B3DC}"/>
              </a:ext>
            </a:extLst>
          </p:cNvPr>
          <p:cNvPicPr>
            <a:picLocks noGrp="1" noChangeAspect="1" noChangeArrowheads="1"/>
          </p:cNvPicPr>
          <p:nvPr>
            <p:ph sz="half" idx="31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" b="4604"/>
          <a:stretch/>
        </p:blipFill>
        <p:spPr bwMode="auto">
          <a:xfrm>
            <a:off x="7272070" y="2485593"/>
            <a:ext cx="3630554" cy="284491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138544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D1AF3BD2-F81A-2F70-4C5B-324162AB1C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r>
              <a:rPr lang="nb-NO"/>
              <a:t>Det humanistiske fakultet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A58473A4-0712-A911-4B49-BE5C3332B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A5D41B68-B33C-13E4-10F4-E6689EB61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dirty="0"/>
              <a:t>Viktige frister</a:t>
            </a:r>
            <a:endParaRPr lang="en-GB" dirty="0"/>
          </a:p>
        </p:txBody>
      </p:sp>
      <p:graphicFrame>
        <p:nvGraphicFramePr>
          <p:cNvPr id="21" name="Plassholder for innhold 5">
            <a:extLst>
              <a:ext uri="{FF2B5EF4-FFF2-40B4-BE49-F238E27FC236}">
                <a16:creationId xmlns:a16="http://schemas.microsoft.com/office/drawing/2014/main" id="{F403F2F7-1F99-BE72-8C6A-791B6E1ADDEA}"/>
              </a:ext>
            </a:extLst>
          </p:cNvPr>
          <p:cNvGraphicFramePr>
            <a:graphicFrameLocks noGrp="1"/>
          </p:cNvGraphicFramePr>
          <p:nvPr>
            <p:ph sz="quarter" idx="28"/>
            <p:extLst>
              <p:ext uri="{D42A27DB-BD31-4B8C-83A1-F6EECF244321}">
                <p14:modId xmlns:p14="http://schemas.microsoft.com/office/powerpoint/2010/main" val="3204346512"/>
              </p:ext>
            </p:extLst>
          </p:nvPr>
        </p:nvGraphicFramePr>
        <p:xfrm>
          <a:off x="360044" y="1082726"/>
          <a:ext cx="11471910" cy="4817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262006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oter Placeholder 1">
            <a:extLst>
              <a:ext uri="{FF2B5EF4-FFF2-40B4-BE49-F238E27FC236}">
                <a16:creationId xmlns:a16="http://schemas.microsoft.com/office/drawing/2014/main" id="{427043F5-7CE8-BA2D-BD41-E1017A51AE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r>
              <a:rPr lang="nb-NO"/>
              <a:t>Det humanistiske fakultet</a:t>
            </a:r>
          </a:p>
        </p:txBody>
      </p:sp>
      <p:pic>
        <p:nvPicPr>
          <p:cNvPr id="7" name="Picture 4" descr="A group of people sitting at a table outside&#10;&#10;Description automatically generated">
            <a:extLst>
              <a:ext uri="{FF2B5EF4-FFF2-40B4-BE49-F238E27FC236}">
                <a16:creationId xmlns:a16="http://schemas.microsoft.com/office/drawing/2014/main" id="{7ED7960F-A404-45DC-BC1A-EFCB0B12E479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45" b="1"/>
          <a:stretch/>
        </p:blipFill>
        <p:spPr>
          <a:xfrm>
            <a:off x="360044" y="1757497"/>
            <a:ext cx="5611759" cy="3920059"/>
          </a:xfrm>
          <a:prstGeom prst="rect">
            <a:avLst/>
          </a:prstGeom>
          <a:noFill/>
        </p:spPr>
      </p:pic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CB615F78-9C4B-6216-3F72-A891597FFF7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045" y="5875993"/>
            <a:ext cx="5611759" cy="182608"/>
          </a:xfrm>
        </p:spPr>
        <p:txBody>
          <a:bodyPr/>
          <a:lstStyle/>
          <a:p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996A0C5-C051-78B3-E777-3E7683F671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20199" y="5875993"/>
            <a:ext cx="5611759" cy="182608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8" name="Plassholder for innhold 5">
            <a:extLst>
              <a:ext uri="{FF2B5EF4-FFF2-40B4-BE49-F238E27FC236}">
                <a16:creationId xmlns:a16="http://schemas.microsoft.com/office/drawing/2014/main" id="{9839DEA7-2822-9F53-C1CA-20FDA72ABDBA}"/>
              </a:ext>
            </a:extLst>
          </p:cNvPr>
          <p:cNvGraphicFramePr>
            <a:graphicFrameLocks noGrp="1"/>
          </p:cNvGraphicFramePr>
          <p:nvPr>
            <p:ph type="pic" sz="quarter" idx="21"/>
            <p:extLst>
              <p:ext uri="{D42A27DB-BD31-4B8C-83A1-F6EECF244321}">
                <p14:modId xmlns:p14="http://schemas.microsoft.com/office/powerpoint/2010/main" val="1580608142"/>
              </p:ext>
            </p:extLst>
          </p:nvPr>
        </p:nvGraphicFramePr>
        <p:xfrm>
          <a:off x="6220199" y="1757497"/>
          <a:ext cx="5611759" cy="39200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E0EBEC87-1EF4-568D-AD8F-DEF6965E3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3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D999926D-BFA6-E33E-AB09-084965D80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en-US" err="1"/>
              <a:t>Torsdag</a:t>
            </a:r>
            <a:r>
              <a:rPr lang="en-US"/>
              <a:t> 17. august – </a:t>
            </a:r>
            <a:r>
              <a:rPr lang="en-US" err="1"/>
              <a:t>Hvordan</a:t>
            </a:r>
            <a:r>
              <a:rPr lang="en-US"/>
              <a:t> </a:t>
            </a:r>
            <a:r>
              <a:rPr lang="en-US" err="1"/>
              <a:t>bli</a:t>
            </a:r>
            <a:r>
              <a:rPr lang="en-US"/>
              <a:t> </a:t>
            </a:r>
            <a:r>
              <a:rPr lang="en-US" err="1"/>
              <a:t>en</a:t>
            </a:r>
            <a:r>
              <a:rPr lang="en-US"/>
              <a:t> god student?</a:t>
            </a:r>
            <a:endParaRPr lang="en-GB"/>
          </a:p>
        </p:txBody>
      </p:sp>
      <p:sp>
        <p:nvSpPr>
          <p:cNvPr id="21" name="Subtitle 4">
            <a:extLst>
              <a:ext uri="{FF2B5EF4-FFF2-40B4-BE49-F238E27FC236}">
                <a16:creationId xmlns:a16="http://schemas.microsoft.com/office/drawing/2014/main" id="{C041BB90-10A4-B4B1-3B79-699C16D49F3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>
            <a:normAutofit/>
          </a:bodyPr>
          <a:lstStyle/>
          <a:p>
            <a:r>
              <a:rPr lang="en-US" sz="2400" dirty="0" err="1"/>
              <a:t>Mye</a:t>
            </a:r>
            <a:r>
              <a:rPr lang="en-US" sz="2400" dirty="0"/>
              <a:t> </a:t>
            </a:r>
            <a:r>
              <a:rPr lang="en-US" sz="2400" dirty="0" err="1"/>
              <a:t>informasjon</a:t>
            </a:r>
            <a:r>
              <a:rPr lang="en-US" sz="2400" dirty="0"/>
              <a:t>? </a:t>
            </a:r>
            <a:r>
              <a:rPr lang="en-US" sz="2400" dirty="0" err="1"/>
              <a:t>Overveldet</a:t>
            </a:r>
            <a:r>
              <a:rPr lang="en-US" sz="2400" dirty="0"/>
              <a:t>?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9871981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4121667-7C33-4EFA-AFDB-D72C329C8E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421C767-EB0F-4C31-948C-B14AE07805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832" y="2766216"/>
            <a:ext cx="3717652" cy="1325563"/>
          </a:xfrm>
        </p:spPr>
        <p:txBody>
          <a:bodyPr/>
          <a:lstStyle/>
          <a:p>
            <a:r>
              <a:rPr lang="nb-NO" sz="3600" dirty="0"/>
              <a:t>Hvor finner jeg informasjon om undervisningen?</a:t>
            </a:r>
            <a:br>
              <a:rPr lang="en-GB" sz="3600" dirty="0"/>
            </a:br>
            <a:endParaRPr lang="en-GB" sz="3600" dirty="0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5D397E1-3A16-4A19-B863-09FA486749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1860748"/>
            <a:ext cx="5863168" cy="3136501"/>
          </a:xfrm>
        </p:spPr>
        <p:txBody>
          <a:bodyPr/>
          <a:lstStyle/>
          <a:p>
            <a:r>
              <a:rPr lang="nb-NO" sz="4000" dirty="0"/>
              <a:t>Mine studier</a:t>
            </a:r>
          </a:p>
          <a:p>
            <a:r>
              <a:rPr lang="nb-NO" sz="4000" dirty="0"/>
              <a:t>Emnesider</a:t>
            </a:r>
          </a:p>
          <a:p>
            <a:r>
              <a:rPr lang="nb-NO" sz="4000" dirty="0"/>
              <a:t>Canvas</a:t>
            </a:r>
          </a:p>
          <a:p>
            <a:r>
              <a:rPr lang="nb-NO" sz="4000" dirty="0" err="1"/>
              <a:t>Studentweb</a:t>
            </a:r>
            <a:endParaRPr lang="nb-NO" sz="4000" dirty="0"/>
          </a:p>
          <a:p>
            <a:r>
              <a:rPr lang="nb-NO" sz="4000" dirty="0"/>
              <a:t>(</a:t>
            </a:r>
            <a:r>
              <a:rPr lang="nb-NO" sz="4000" dirty="0" err="1"/>
              <a:t>Inspera</a:t>
            </a:r>
            <a:r>
              <a:rPr lang="nb-NO" sz="40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313410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35BB355-39C9-4698-A370-FC0E13DDE4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832" y="2502982"/>
            <a:ext cx="3717652" cy="1916618"/>
          </a:xfrm>
        </p:spPr>
        <p:txBody>
          <a:bodyPr/>
          <a:lstStyle/>
          <a:p>
            <a:r>
              <a:rPr lang="nb-NO" sz="3600" dirty="0"/>
              <a:t>Hvordan kommuniserer jeg med studenter og ansatte?</a:t>
            </a:r>
            <a:endParaRPr lang="en-GB" dirty="0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B5FDDFB-905D-4644-8377-3BB0D1CB24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2510945"/>
            <a:ext cx="5863168" cy="1836109"/>
          </a:xfrm>
        </p:spPr>
        <p:txBody>
          <a:bodyPr/>
          <a:lstStyle/>
          <a:p>
            <a:r>
              <a:rPr lang="nb-NO" sz="4000" dirty="0"/>
              <a:t>Canvas</a:t>
            </a:r>
          </a:p>
          <a:p>
            <a:r>
              <a:rPr lang="nb-NO" sz="4000" dirty="0"/>
              <a:t>Outlook</a:t>
            </a:r>
          </a:p>
          <a:p>
            <a:r>
              <a:rPr lang="nb-NO" sz="4000" dirty="0"/>
              <a:t>(</a:t>
            </a:r>
            <a:r>
              <a:rPr lang="nb-NO" sz="4000" dirty="0" err="1"/>
              <a:t>Studentweb</a:t>
            </a:r>
            <a:r>
              <a:rPr lang="nb-NO" sz="4000" dirty="0"/>
              <a:t>)</a:t>
            </a:r>
            <a:endParaRPr lang="en-GB" sz="4000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BCE988F-70C0-462F-B22B-431A36800C4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9888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9C7BE87-ACFE-4551-B4AA-59E1C4F80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832" y="2694977"/>
            <a:ext cx="3717652" cy="1468043"/>
          </a:xfrm>
        </p:spPr>
        <p:txBody>
          <a:bodyPr/>
          <a:lstStyle/>
          <a:p>
            <a:r>
              <a:rPr lang="nb-NO" sz="3600" dirty="0"/>
              <a:t>Hvor finner jeg pensum og faglitteratur?</a:t>
            </a:r>
            <a:endParaRPr lang="en-GB" dirty="0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41D9FA4-BE6D-4518-BF26-D89DFED038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2507294"/>
            <a:ext cx="5863168" cy="1843410"/>
          </a:xfrm>
        </p:spPr>
        <p:txBody>
          <a:bodyPr/>
          <a:lstStyle/>
          <a:p>
            <a:r>
              <a:rPr lang="nb-NO" sz="4000" dirty="0" err="1"/>
              <a:t>Leganto</a:t>
            </a:r>
            <a:endParaRPr lang="nb-NO" sz="4000" dirty="0"/>
          </a:p>
          <a:p>
            <a:r>
              <a:rPr lang="nb-NO" sz="4000" dirty="0" err="1"/>
              <a:t>Oria</a:t>
            </a:r>
            <a:endParaRPr lang="nb-NO" sz="4000" dirty="0"/>
          </a:p>
          <a:p>
            <a:r>
              <a:rPr lang="nb-NO" sz="4000" dirty="0"/>
              <a:t>Biblioteket</a:t>
            </a:r>
            <a:endParaRPr lang="en-GB" sz="4000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726DA0-5637-4D7C-A810-AB58EE7C2D1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5764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7190C32-0D15-440C-9CD7-16DFD245A3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832" y="2685742"/>
            <a:ext cx="3717652" cy="1486516"/>
          </a:xfrm>
        </p:spPr>
        <p:txBody>
          <a:bodyPr/>
          <a:lstStyle/>
          <a:p>
            <a:r>
              <a:rPr lang="nb-NO" sz="3600" dirty="0"/>
              <a:t>Hvilke tekniske hjelpemidler finnes?</a:t>
            </a:r>
            <a:br>
              <a:rPr lang="nb-NO" dirty="0"/>
            </a:br>
            <a:endParaRPr lang="en-GB" dirty="0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12EB2F5-DBF2-41E0-9A61-CCE5935C14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1319041"/>
            <a:ext cx="5863168" cy="4219917"/>
          </a:xfrm>
        </p:spPr>
        <p:txBody>
          <a:bodyPr/>
          <a:lstStyle/>
          <a:p>
            <a:r>
              <a:rPr lang="nb-NO" sz="4000" dirty="0"/>
              <a:t>Programkiosk</a:t>
            </a:r>
          </a:p>
          <a:p>
            <a:r>
              <a:rPr lang="nb-NO" sz="4000" dirty="0"/>
              <a:t>Office 365</a:t>
            </a:r>
          </a:p>
          <a:p>
            <a:r>
              <a:rPr lang="nb-NO" sz="4000" dirty="0"/>
              <a:t>Utskrift</a:t>
            </a:r>
          </a:p>
          <a:p>
            <a:r>
              <a:rPr lang="nb-NO" sz="4000" dirty="0"/>
              <a:t>IT-</a:t>
            </a:r>
            <a:r>
              <a:rPr lang="nb-NO" sz="4000" dirty="0" err="1"/>
              <a:t>helpdesk</a:t>
            </a:r>
            <a:endParaRPr lang="nb-NO" sz="4000" dirty="0"/>
          </a:p>
          <a:p>
            <a:r>
              <a:rPr lang="nb-NO" sz="4000" dirty="0" err="1"/>
              <a:t>Authenticator</a:t>
            </a:r>
            <a:endParaRPr lang="nb-NO" sz="4000" dirty="0"/>
          </a:p>
          <a:p>
            <a:r>
              <a:rPr lang="nb-NO" sz="4000" dirty="0"/>
              <a:t>Brukerinfo</a:t>
            </a:r>
          </a:p>
          <a:p>
            <a:r>
              <a:rPr lang="nb-NO" sz="4000" dirty="0"/>
              <a:t>Akademisk skrivesenter</a:t>
            </a:r>
          </a:p>
          <a:p>
            <a:endParaRPr lang="en-GB" sz="4000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89EE240-14A7-4233-AD6F-B7AD800FF5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153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490D1F8-3A1B-4238-845A-176C49C709E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" b="209"/>
          <a:stretch>
            <a:fillRect/>
          </a:stretch>
        </p:blipFill>
        <p:spPr/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C9BE5FA0-A940-48C4-8F39-09FAEB772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2263" y="5918618"/>
            <a:ext cx="9144000" cy="1878763"/>
          </a:xfrm>
        </p:spPr>
        <p:txBody>
          <a:bodyPr/>
          <a:lstStyle/>
          <a:p>
            <a:r>
              <a:rPr lang="nb-NO" dirty="0">
                <a:hlinkClick r:id="rId4"/>
              </a:rPr>
              <a:t>Demo av Mine studier</a:t>
            </a:r>
            <a:br>
              <a:rPr lang="nb-NO" dirty="0"/>
            </a:b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17C1EF7-A040-405B-A2A5-9C5CA36C9A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4603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D39D8935-FE17-29FA-CF70-F845859037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r>
              <a:rPr lang="nb-NO"/>
              <a:t>Det humanistiske fakultet</a:t>
            </a:r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EAFC0F65-755B-D52C-B975-C92BA9A4F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15" name="Tittel 14">
            <a:extLst>
              <a:ext uri="{FF2B5EF4-FFF2-40B4-BE49-F238E27FC236}">
                <a16:creationId xmlns:a16="http://schemas.microsoft.com/office/drawing/2014/main" id="{FCD17B09-1675-1F71-E15C-C6242A3D3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nb-NO" kern="1200" dirty="0">
                <a:latin typeface="+mj-lt"/>
                <a:ea typeface="+mj-ea"/>
                <a:cs typeface="+mj-cs"/>
              </a:rPr>
              <a:t>Tilgang til mine studier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5E9B20D8-78A9-B78A-AA3B-6C47745B61C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vert="horz" lIns="0" tIns="0" rIns="0" bIns="0" rtlCol="0" anchor="t">
            <a:normAutofit lnSpcReduction="10000"/>
          </a:bodyPr>
          <a:lstStyle/>
          <a:p>
            <a:r>
              <a:rPr lang="nb-NO" kern="1200" dirty="0">
                <a:latin typeface="+mn-lt"/>
                <a:ea typeface="+mn-ea"/>
                <a:cs typeface="+mn-cs"/>
              </a:rPr>
              <a:t>Last ned Mine studier fra App store</a:t>
            </a:r>
          </a:p>
        </p:txBody>
      </p:sp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D32FDAC8-F51A-6E5C-F84F-4D385A5EA662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2"/>
          <a:stretch/>
        </p:blipFill>
        <p:spPr>
          <a:xfrm>
            <a:off x="360043" y="1941307"/>
            <a:ext cx="3541314" cy="3541314"/>
          </a:xfrm>
          <a:noFill/>
        </p:spPr>
      </p:pic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69476430-0714-2B28-20DE-C980269149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nb-NO" kern="1200" dirty="0">
                <a:latin typeface="+mn-lt"/>
                <a:ea typeface="+mn-ea"/>
                <a:cs typeface="+mn-cs"/>
              </a:rPr>
              <a:t>Last ned mine studier fra Google Play</a:t>
            </a:r>
          </a:p>
        </p:txBody>
      </p:sp>
      <p:pic>
        <p:nvPicPr>
          <p:cNvPr id="14" name="Plassholder for innhold 13">
            <a:extLst>
              <a:ext uri="{FF2B5EF4-FFF2-40B4-BE49-F238E27FC236}">
                <a16:creationId xmlns:a16="http://schemas.microsoft.com/office/drawing/2014/main" id="{A4DD46B2-EB0C-2F03-8127-349622E6450D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/>
          <a:stretch/>
        </p:blipFill>
        <p:spPr>
          <a:xfrm>
            <a:off x="4333839" y="1941307"/>
            <a:ext cx="3541314" cy="3541314"/>
          </a:xfrm>
          <a:noFill/>
        </p:spPr>
      </p:pic>
      <p:sp>
        <p:nvSpPr>
          <p:cNvPr id="16" name="TekstSylinder 15">
            <a:extLst>
              <a:ext uri="{FF2B5EF4-FFF2-40B4-BE49-F238E27FC236}">
                <a16:creationId xmlns:a16="http://schemas.microsoft.com/office/drawing/2014/main" id="{E411F579-5306-13E0-6B66-05E0504F9D9F}"/>
              </a:ext>
            </a:extLst>
          </p:cNvPr>
          <p:cNvSpPr txBox="1"/>
          <p:nvPr/>
        </p:nvSpPr>
        <p:spPr>
          <a:xfrm>
            <a:off x="8287512" y="1081462"/>
            <a:ext cx="3541314" cy="49474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marL="288000" indent="-288000" defTabSz="914446">
              <a:spcBef>
                <a:spcPts val="1150"/>
              </a:spcBef>
            </a:pPr>
            <a:r>
              <a:rPr lang="nb-NO" sz="1800" kern="1200" dirty="0">
                <a:latin typeface="+mn-lt"/>
                <a:ea typeface="+mn-ea"/>
                <a:cs typeface="+mn-cs"/>
              </a:rPr>
              <a:t>Eller gå inn på </a:t>
            </a:r>
            <a:r>
              <a:rPr lang="nb-NO" sz="1800" kern="1200" dirty="0">
                <a:latin typeface="+mn-lt"/>
                <a:ea typeface="+mn-ea"/>
                <a:cs typeface="+mn-cs"/>
                <a:hlinkClick r:id="rId4"/>
              </a:rPr>
              <a:t>minestudier.uio.no</a:t>
            </a:r>
            <a:endParaRPr lang="nb-NO" sz="1800" kern="1200" dirty="0">
              <a:latin typeface="+mn-lt"/>
              <a:ea typeface="+mn-ea"/>
              <a:cs typeface="+mn-cs"/>
            </a:endParaRPr>
          </a:p>
        </p:txBody>
      </p:sp>
      <p:pic>
        <p:nvPicPr>
          <p:cNvPr id="26" name="Plassholder for bilde 25">
            <a:extLst>
              <a:ext uri="{FF2B5EF4-FFF2-40B4-BE49-F238E27FC236}">
                <a16:creationId xmlns:a16="http://schemas.microsoft.com/office/drawing/2014/main" id="{467A954F-E7BB-7E82-81AA-3B00B3BBA3D6}"/>
              </a:ext>
            </a:extLst>
          </p:cNvPr>
          <p:cNvPicPr>
            <a:picLocks noGrp="1" noChangeAspect="1"/>
          </p:cNvPicPr>
          <p:nvPr>
            <p:ph type="pic" sz="quarter" idx="28"/>
          </p:nvPr>
        </p:nvPicPr>
        <p:blipFill rotWithShape="1">
          <a:blip r:embed="rId5"/>
          <a:srcRect l="4765" r="4765"/>
          <a:stretch/>
        </p:blipFill>
        <p:spPr/>
      </p:pic>
    </p:spTree>
    <p:extLst>
      <p:ext uri="{BB962C8B-B14F-4D97-AF65-F5344CB8AC3E}">
        <p14:creationId xmlns:p14="http://schemas.microsoft.com/office/powerpoint/2010/main" val="25318575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C85CD020-13C2-6C63-4810-4800133F470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91CEB485-6ACE-FE08-77EA-48AF0D0E78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lgang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internett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UiO</a:t>
            </a:r>
            <a:endParaRPr lang="en-US" dirty="0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C3C6124-2429-FAC8-14D9-7B6D782B08A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/>
              <a:t>eduroam:</a:t>
            </a:r>
            <a:endParaRPr lang="en-US" dirty="0"/>
          </a:p>
        </p:txBody>
      </p:sp>
      <p:sp>
        <p:nvSpPr>
          <p:cNvPr id="21" name="Plassholder for tekst 20">
            <a:extLst>
              <a:ext uri="{FF2B5EF4-FFF2-40B4-BE49-F238E27FC236}">
                <a16:creationId xmlns:a16="http://schemas.microsoft.com/office/drawing/2014/main" id="{78F5BAF8-06A6-4653-C769-9A9A8F09ED1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 err="1"/>
              <a:t>logg</a:t>
            </a:r>
            <a:r>
              <a:rPr lang="en-US" dirty="0"/>
              <a:t> inn med </a:t>
            </a:r>
            <a:r>
              <a:rPr lang="en-US" dirty="0" err="1"/>
              <a:t>brukernavn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passord</a:t>
            </a:r>
            <a:r>
              <a:rPr lang="en-US" dirty="0"/>
              <a:t> </a:t>
            </a:r>
            <a:r>
              <a:rPr lang="en-US" dirty="0" err="1"/>
              <a:t>mottatt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sms</a:t>
            </a:r>
            <a:endParaRPr lang="en-US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19" name="Plassholder for tekst 18">
            <a:extLst>
              <a:ext uri="{FF2B5EF4-FFF2-40B4-BE49-F238E27FC236}">
                <a16:creationId xmlns:a16="http://schemas.microsoft.com/office/drawing/2014/main" id="{0F4AEA4B-23C1-FCF5-2B62-9A3CE73CAFF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 err="1"/>
              <a:t>uioguest</a:t>
            </a:r>
            <a:r>
              <a:rPr lang="en-US" dirty="0"/>
              <a:t>:</a:t>
            </a:r>
            <a:endParaRPr lang="en-GB" dirty="0"/>
          </a:p>
          <a:p>
            <a:endParaRPr lang="en-GB" dirty="0"/>
          </a:p>
        </p:txBody>
      </p:sp>
      <p:sp>
        <p:nvSpPr>
          <p:cNvPr id="20" name="Plassholder for tekst 19">
            <a:extLst>
              <a:ext uri="{FF2B5EF4-FFF2-40B4-BE49-F238E27FC236}">
                <a16:creationId xmlns:a16="http://schemas.microsoft.com/office/drawing/2014/main" id="{C022A155-0678-81D0-34C2-9DE73C7D446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 err="1"/>
              <a:t>logg</a:t>
            </a:r>
            <a:r>
              <a:rPr lang="en-US" dirty="0"/>
              <a:t> inn med </a:t>
            </a:r>
            <a:r>
              <a:rPr lang="en-US" dirty="0" err="1"/>
              <a:t>mobilnumm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kode</a:t>
            </a:r>
            <a:r>
              <a:rPr lang="en-US" dirty="0"/>
              <a:t> </a:t>
            </a:r>
            <a:r>
              <a:rPr lang="en-US" dirty="0" err="1"/>
              <a:t>mottatt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sms</a:t>
            </a:r>
            <a:r>
              <a:rPr lang="en-US" dirty="0"/>
              <a:t>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82991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lassholder for innhold 8">
            <a:hlinkClick r:id="rId2"/>
            <a:extLst>
              <a:ext uri="{FF2B5EF4-FFF2-40B4-BE49-F238E27FC236}">
                <a16:creationId xmlns:a16="http://schemas.microsoft.com/office/drawing/2014/main" id="{20C03FF5-A097-6A67-7153-C5DF3133440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9" r="8992" b="-1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2" name="Plassholder for lysbildenummer 1" hidden="1">
            <a:extLst>
              <a:ext uri="{FF2B5EF4-FFF2-40B4-BE49-F238E27FC236}">
                <a16:creationId xmlns:a16="http://schemas.microsoft.com/office/drawing/2014/main" id="{F4A0D1A3-FC71-0095-4AE3-CF1D0A62853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669AD6A7-0617-1E95-DDAB-AA184F1A19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9995" y="3977990"/>
            <a:ext cx="2880000" cy="28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466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FAFEE2E6-F95E-6BAC-2EE7-F2520D1260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r>
              <a:rPr lang="nb-NO"/>
              <a:t>Det humanistiske fakultet</a:t>
            </a:r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A7F19637-4930-BA31-41E9-11880B6FD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71A77C0A-9491-D44B-4117-38414C0403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dirty="0"/>
              <a:t>Mine studier</a:t>
            </a:r>
            <a:endParaRPr lang="en-GB" dirty="0"/>
          </a:p>
        </p:txBody>
      </p:sp>
      <p:graphicFrame>
        <p:nvGraphicFramePr>
          <p:cNvPr id="13" name="Plassholder for tekst 3">
            <a:extLst>
              <a:ext uri="{FF2B5EF4-FFF2-40B4-BE49-F238E27FC236}">
                <a16:creationId xmlns:a16="http://schemas.microsoft.com/office/drawing/2014/main" id="{7E035E6C-8A86-D6CF-0BE9-DC1B35A15C0D}"/>
              </a:ext>
            </a:extLst>
          </p:cNvPr>
          <p:cNvGraphicFramePr>
            <a:graphicFrameLocks noGrp="1"/>
          </p:cNvGraphicFramePr>
          <p:nvPr>
            <p:ph sz="quarter" idx="28"/>
            <p:extLst>
              <p:ext uri="{D42A27DB-BD31-4B8C-83A1-F6EECF244321}">
                <p14:modId xmlns:p14="http://schemas.microsoft.com/office/powerpoint/2010/main" val="3991180208"/>
              </p:ext>
            </p:extLst>
          </p:nvPr>
        </p:nvGraphicFramePr>
        <p:xfrm>
          <a:off x="360044" y="1082726"/>
          <a:ext cx="11471910" cy="4817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2492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Table&#10;&#10;Description automatically generated">
            <a:extLst>
              <a:ext uri="{FF2B5EF4-FFF2-40B4-BE49-F238E27FC236}">
                <a16:creationId xmlns:a16="http://schemas.microsoft.com/office/drawing/2014/main" id="{FD8C6E35-5A31-565A-72BD-0A163F16AC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0078" y="3198986"/>
            <a:ext cx="5204925" cy="3204781"/>
          </a:xfrm>
          <a:prstGeom prst="rect">
            <a:avLst/>
          </a:prstGeom>
        </p:spPr>
      </p:pic>
      <p:pic>
        <p:nvPicPr>
          <p:cNvPr id="5" name="Picture 5" descr="Table&#10;&#10;Description automatically generated">
            <a:extLst>
              <a:ext uri="{FF2B5EF4-FFF2-40B4-BE49-F238E27FC236}">
                <a16:creationId xmlns:a16="http://schemas.microsoft.com/office/drawing/2014/main" id="{AA6F3581-2ADB-9CD3-A2FD-B9ABBF0F1A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5894" y="1495120"/>
            <a:ext cx="4085253" cy="50340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381" y="-13436"/>
            <a:ext cx="10972800" cy="1143000"/>
          </a:xfrm>
        </p:spPr>
        <p:txBody>
          <a:bodyPr>
            <a:normAutofit fontScale="90000"/>
          </a:bodyPr>
          <a:lstStyle/>
          <a:p>
            <a:br>
              <a:rPr lang="nb-NO" sz="3733"/>
            </a:br>
            <a:br>
              <a:rPr lang="nb-NO" sz="3733"/>
            </a:br>
            <a:r>
              <a:rPr lang="nb-NO" sz="4133" b="1"/>
              <a:t>Anbefalt studieløp</a:t>
            </a:r>
            <a:endParaRPr lang="nb-NO" sz="3733" b="1"/>
          </a:p>
        </p:txBody>
      </p:sp>
      <p:sp>
        <p:nvSpPr>
          <p:cNvPr id="3" name="Rectangle 2"/>
          <p:cNvSpPr/>
          <p:nvPr/>
        </p:nvSpPr>
        <p:spPr>
          <a:xfrm>
            <a:off x="946921" y="5356651"/>
            <a:ext cx="4259012" cy="850912"/>
          </a:xfrm>
          <a:prstGeom prst="rect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nb-NO" sz="1200">
              <a:ln w="57150">
                <a:solidFill>
                  <a:schemeClr val="tx1"/>
                </a:solidFill>
              </a:ln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826562" y="4451987"/>
            <a:ext cx="5199068" cy="1517239"/>
          </a:xfrm>
          <a:prstGeom prst="rect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nb-NO" sz="1200"/>
          </a:p>
        </p:txBody>
      </p:sp>
    </p:spTree>
    <p:extLst>
      <p:ext uri="{BB962C8B-B14F-4D97-AF65-F5344CB8AC3E}">
        <p14:creationId xmlns:p14="http://schemas.microsoft.com/office/powerpoint/2010/main" val="25383912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Footer Placeholder 1">
            <a:extLst>
              <a:ext uri="{FF2B5EF4-FFF2-40B4-BE49-F238E27FC236}">
                <a16:creationId xmlns:a16="http://schemas.microsoft.com/office/drawing/2014/main" id="{37B9D419-8AF6-3327-A4DC-4FD9C9F3F728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r>
              <a:rPr lang="nb-NO"/>
              <a:t>Det humanistiske fakultet</a:t>
            </a:r>
          </a:p>
        </p:txBody>
      </p:sp>
      <p:sp>
        <p:nvSpPr>
          <p:cNvPr id="43" name="Slide Number Placeholder 2">
            <a:extLst>
              <a:ext uri="{FF2B5EF4-FFF2-40B4-BE49-F238E27FC236}">
                <a16:creationId xmlns:a16="http://schemas.microsoft.com/office/drawing/2014/main" id="{C6B5C02B-9D96-919E-C0C0-10E42C763C6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DA36D3A5-F2E5-EEF7-CF77-7BF76B176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dirty="0"/>
              <a:t>Emnegrupper</a:t>
            </a:r>
            <a:endParaRPr lang="en-GB" dirty="0"/>
          </a:p>
        </p:txBody>
      </p:sp>
      <p:sp>
        <p:nvSpPr>
          <p:cNvPr id="45" name="Subtitle 4">
            <a:extLst>
              <a:ext uri="{FF2B5EF4-FFF2-40B4-BE49-F238E27FC236}">
                <a16:creationId xmlns:a16="http://schemas.microsoft.com/office/drawing/2014/main" id="{B3F0C9EF-806C-496E-6E82-DFA30DDD1E7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/>
          <a:lstStyle/>
          <a:p>
            <a:r>
              <a:rPr lang="en-US" dirty="0" err="1"/>
              <a:t>Bachelorgraden</a:t>
            </a:r>
            <a:r>
              <a:rPr lang="en-US" dirty="0"/>
              <a:t> </a:t>
            </a:r>
            <a:r>
              <a:rPr lang="en-US" dirty="0" err="1"/>
              <a:t>består</a:t>
            </a:r>
            <a:r>
              <a:rPr lang="en-US" dirty="0"/>
              <a:t> av </a:t>
            </a:r>
            <a:r>
              <a:rPr lang="en-US" dirty="0" err="1"/>
              <a:t>totalt</a:t>
            </a:r>
            <a:r>
              <a:rPr lang="en-US" dirty="0"/>
              <a:t> 180 </a:t>
            </a:r>
            <a:r>
              <a:rPr lang="en-US" dirty="0" err="1"/>
              <a:t>studiepoeng</a:t>
            </a:r>
            <a:endParaRPr lang="en-US" dirty="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F439B8A0-7E98-DF00-0112-309518C03A1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graphicFrame>
        <p:nvGraphicFramePr>
          <p:cNvPr id="7" name="Plassholder for innhold 4">
            <a:extLst>
              <a:ext uri="{FF2B5EF4-FFF2-40B4-BE49-F238E27FC236}">
                <a16:creationId xmlns:a16="http://schemas.microsoft.com/office/drawing/2014/main" id="{1A3CD6CA-0D99-CC5D-4C69-54819F726112}"/>
              </a:ext>
            </a:extLst>
          </p:cNvPr>
          <p:cNvGraphicFramePr>
            <a:graphicFrameLocks noGrp="1"/>
          </p:cNvGraphicFramePr>
          <p:nvPr>
            <p:ph sz="half" idx="30"/>
            <p:extLst>
              <p:ext uri="{D42A27DB-BD31-4B8C-83A1-F6EECF244321}">
                <p14:modId xmlns:p14="http://schemas.microsoft.com/office/powerpoint/2010/main" val="2232427277"/>
              </p:ext>
            </p:extLst>
          </p:nvPr>
        </p:nvGraphicFramePr>
        <p:xfrm>
          <a:off x="360044" y="1757498"/>
          <a:ext cx="11471910" cy="4301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20417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2014</TotalTime>
  <Words>1499</Words>
  <Application>Microsoft Office PowerPoint</Application>
  <PresentationFormat>Widescreen</PresentationFormat>
  <Paragraphs>220</Paragraphs>
  <Slides>27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7</vt:i4>
      </vt:variant>
    </vt:vector>
  </HeadingPairs>
  <TitlesOfParts>
    <vt:vector size="34" baseType="lpstr">
      <vt:lpstr>Arial</vt:lpstr>
      <vt:lpstr>Arial, sans-serif</vt:lpstr>
      <vt:lpstr>Arial,Sans-Serif</vt:lpstr>
      <vt:lpstr>Calibri</vt:lpstr>
      <vt:lpstr>Wingdings</vt:lpstr>
      <vt:lpstr>Office-tema</vt:lpstr>
      <vt:lpstr>think-cell Slide</vt:lpstr>
      <vt:lpstr>Bli kjent med studiehverdagen</vt:lpstr>
      <vt:lpstr>Hvor finner jeg informasjon om undervisningen? Hvordan kommuniserer jeg med studenter og ansatte?  Hvor finner jeg pensum og faglitteratur? Hvilke tekniske hjelpemidler finnes? </vt:lpstr>
      <vt:lpstr>Demo av Mine studier </vt:lpstr>
      <vt:lpstr>Tilgang til mine studier</vt:lpstr>
      <vt:lpstr>Tilgang til internett på UiO</vt:lpstr>
      <vt:lpstr>PowerPoint-presentasjon</vt:lpstr>
      <vt:lpstr>Mine studier</vt:lpstr>
      <vt:lpstr>  Anbefalt studieløp</vt:lpstr>
      <vt:lpstr>Emnegrupper</vt:lpstr>
      <vt:lpstr>Emnesider</vt:lpstr>
      <vt:lpstr>StudentWeb</vt:lpstr>
      <vt:lpstr>PowerPoint-presentasjon</vt:lpstr>
      <vt:lpstr>Sjekkliste når du skal melde deg opp til emner i StudentWeb</vt:lpstr>
      <vt:lpstr>PowerPoint-presentasjon</vt:lpstr>
      <vt:lpstr>Canvas</vt:lpstr>
      <vt:lpstr>Outlook </vt:lpstr>
      <vt:lpstr>Andre snarveier i mine studier </vt:lpstr>
      <vt:lpstr>PowerPoint-presentasjon</vt:lpstr>
      <vt:lpstr>Jobbklar</vt:lpstr>
      <vt:lpstr>Hvem kontakter jeg?</vt:lpstr>
      <vt:lpstr>Ønsker du å ta kontakt anonymt?</vt:lpstr>
      <vt:lpstr>Viktige frister</vt:lpstr>
      <vt:lpstr>Torsdag 17. august – Hvordan bli en god student?</vt:lpstr>
      <vt:lpstr>Hvor finner jeg informasjon om undervisningen? </vt:lpstr>
      <vt:lpstr>Hvordan kommuniserer jeg med studenter og ansatte?</vt:lpstr>
      <vt:lpstr>Hvor finner jeg pensum og faglitteratur?</vt:lpstr>
      <vt:lpstr>Hvilke tekniske hjelpemidler finnes?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t humanistiske fakultet</dc:title>
  <dc:creator>Vera Raudberget Fiveland</dc:creator>
  <cp:lastModifiedBy>Simen Eriksen Hustoft</cp:lastModifiedBy>
  <cp:revision>6</cp:revision>
  <dcterms:created xsi:type="dcterms:W3CDTF">2023-08-08T07:12:06Z</dcterms:created>
  <dcterms:modified xsi:type="dcterms:W3CDTF">2023-08-14T08:4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